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31"/>
  </p:notesMasterIdLst>
  <p:handoutMasterIdLst>
    <p:handoutMasterId r:id="rId32"/>
  </p:handoutMasterIdLst>
  <p:sldIdLst>
    <p:sldId id="282" r:id="rId6"/>
    <p:sldId id="283" r:id="rId7"/>
    <p:sldId id="284" r:id="rId8"/>
    <p:sldId id="256" r:id="rId9"/>
    <p:sldId id="285" r:id="rId10"/>
    <p:sldId id="288" r:id="rId11"/>
    <p:sldId id="289" r:id="rId12"/>
    <p:sldId id="290" r:id="rId13"/>
    <p:sldId id="291" r:id="rId14"/>
    <p:sldId id="258" r:id="rId15"/>
    <p:sldId id="261" r:id="rId16"/>
    <p:sldId id="262" r:id="rId17"/>
    <p:sldId id="266" r:id="rId18"/>
    <p:sldId id="268" r:id="rId19"/>
    <p:sldId id="292" r:id="rId20"/>
    <p:sldId id="259" r:id="rId21"/>
    <p:sldId id="264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</p:sldIdLst>
  <p:sldSz cx="12192000" cy="6858000"/>
  <p:notesSz cx="6797675" cy="9926638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56"/>
            <p14:sldId id="285"/>
            <p14:sldId id="288"/>
            <p14:sldId id="289"/>
            <p14:sldId id="290"/>
            <p14:sldId id="291"/>
            <p14:sldId id="258"/>
            <p14:sldId id="261"/>
            <p14:sldId id="262"/>
            <p14:sldId id="266"/>
            <p14:sldId id="268"/>
            <p14:sldId id="292"/>
            <p14:sldId id="259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825977-F45F-1C42-8FD8-972392AFEDFB}" v="4" dt="2025-08-12T09:20:18.404"/>
    <p1510:client id="{803E45C1-253A-4B4C-97EA-23107E2BFE3B}" v="8" dt="2025-08-11T12:48:29.516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37" autoAdjust="0"/>
    <p:restoredTop sz="94569"/>
  </p:normalViewPr>
  <p:slideViewPr>
    <p:cSldViewPr snapToGrid="0">
      <p:cViewPr varScale="1">
        <p:scale>
          <a:sx n="195" d="100"/>
          <a:sy n="195" d="100"/>
        </p:scale>
        <p:origin x="194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6/11/relationships/changesInfo" Target="changesInfos/changesInfo1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n Pirc" userId="43757fef-ef70-4c97-a7dd-75ad2fb52df6" providerId="ADAL" clId="{24825977-F45F-1C42-8FD8-972392AFEDFB}"/>
    <pc:docChg chg="delSld modSld delSection modSection">
      <pc:chgData name="Zan Pirc" userId="43757fef-ef70-4c97-a7dd-75ad2fb52df6" providerId="ADAL" clId="{24825977-F45F-1C42-8FD8-972392AFEDFB}" dt="2025-08-12T09:20:18.404" v="7"/>
      <pc:docMkLst>
        <pc:docMk/>
      </pc:docMkLst>
      <pc:sldChg chg="addSp modSp modNotesTx">
        <pc:chgData name="Zan Pirc" userId="43757fef-ef70-4c97-a7dd-75ad2fb52df6" providerId="ADAL" clId="{24825977-F45F-1C42-8FD8-972392AFEDFB}" dt="2025-08-12T09:20:18.404" v="7"/>
        <pc:sldMkLst>
          <pc:docMk/>
          <pc:sldMk cId="3871691663" sldId="256"/>
        </pc:sldMkLst>
        <pc:spChg chg="add mod">
          <ac:chgData name="Zan Pirc" userId="43757fef-ef70-4c97-a7dd-75ad2fb52df6" providerId="ADAL" clId="{24825977-F45F-1C42-8FD8-972392AFEDFB}" dt="2025-08-12T09:20:13.273" v="6"/>
          <ac:spMkLst>
            <pc:docMk/>
            <pc:sldMk cId="3871691663" sldId="256"/>
            <ac:spMk id="2" creationId="{81FF7E49-A55E-B278-B5BF-7FA2E68A07AA}"/>
          </ac:spMkLst>
        </pc:spChg>
        <pc:spChg chg="add mod">
          <ac:chgData name="Zan Pirc" userId="43757fef-ef70-4c97-a7dd-75ad2fb52df6" providerId="ADAL" clId="{24825977-F45F-1C42-8FD8-972392AFEDFB}" dt="2025-08-12T09:20:18.404" v="7"/>
          <ac:spMkLst>
            <pc:docMk/>
            <pc:sldMk cId="3871691663" sldId="256"/>
            <ac:spMk id="6" creationId="{D3160201-1021-E747-6FF5-C0504C5C449E}"/>
          </ac:spMkLst>
        </pc:spChg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1278962043" sldId="257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3295348988" sldId="260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1693298864" sldId="263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3654477501" sldId="267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805611282" sldId="269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1430882140" sldId="270"/>
        </pc:sldMkLst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454252431" sldId="272"/>
        </pc:sldMkLst>
      </pc:sldChg>
      <pc:sldChg chg="addSp modSp">
        <pc:chgData name="Zan Pirc" userId="43757fef-ef70-4c97-a7dd-75ad2fb52df6" providerId="ADAL" clId="{24825977-F45F-1C42-8FD8-972392AFEDFB}" dt="2025-08-12T09:19:34.769" v="1"/>
        <pc:sldMkLst>
          <pc:docMk/>
          <pc:sldMk cId="31834924" sldId="278"/>
        </pc:sldMkLst>
        <pc:spChg chg="add mod">
          <ac:chgData name="Zan Pirc" userId="43757fef-ef70-4c97-a7dd-75ad2fb52df6" providerId="ADAL" clId="{24825977-F45F-1C42-8FD8-972392AFEDFB}" dt="2025-08-12T09:19:30.085" v="0"/>
          <ac:spMkLst>
            <pc:docMk/>
            <pc:sldMk cId="31834924" sldId="278"/>
            <ac:spMk id="2" creationId="{60817409-4DFE-4276-171C-1E641452DD7C}"/>
          </ac:spMkLst>
        </pc:spChg>
        <pc:spChg chg="add mod">
          <ac:chgData name="Zan Pirc" userId="43757fef-ef70-4c97-a7dd-75ad2fb52df6" providerId="ADAL" clId="{24825977-F45F-1C42-8FD8-972392AFEDFB}" dt="2025-08-12T09:19:34.769" v="1"/>
          <ac:spMkLst>
            <pc:docMk/>
            <pc:sldMk cId="31834924" sldId="278"/>
            <ac:spMk id="3" creationId="{804E4DB1-F570-BA9B-A4A4-683673C900B9}"/>
          </ac:spMkLst>
        </pc:spChg>
      </pc:sldChg>
      <pc:sldChg chg="del">
        <pc:chgData name="Zan Pirc" userId="43757fef-ef70-4c97-a7dd-75ad2fb52df6" providerId="ADAL" clId="{24825977-F45F-1C42-8FD8-972392AFEDFB}" dt="2025-08-12T09:19:52.046" v="3" actId="2696"/>
        <pc:sldMkLst>
          <pc:docMk/>
          <pc:sldMk cId="1320646718" sldId="286"/>
        </pc:sldMkLst>
      </pc:sldChg>
    </pc:docChg>
  </pc:docChgLst>
  <pc:docChgLst>
    <pc:chgData name="Kuehner, Andre (KL-GMI)" userId="4f8b43d9-1b07-4b66-9681-fb78f6f2d9be" providerId="ADAL" clId="{C4B8AC80-8120-4AA8-BF52-902D8C565A4F}"/>
    <pc:docChg chg="undo custSel addSld delSld modSld sldOrd addSection modSection">
      <pc:chgData name="Kuehner, Andre (KL-GMI)" userId="4f8b43d9-1b07-4b66-9681-fb78f6f2d9be" providerId="ADAL" clId="{C4B8AC80-8120-4AA8-BF52-902D8C565A4F}" dt="2025-07-03T12:01:33.155" v="3173"/>
      <pc:docMkLst>
        <pc:docMk/>
      </pc:docMkLst>
      <pc:sldChg chg="modSp mod ord">
        <pc:chgData name="Kuehner, Andre (KL-GMI)" userId="4f8b43d9-1b07-4b66-9681-fb78f6f2d9be" providerId="ADAL" clId="{C4B8AC80-8120-4AA8-BF52-902D8C565A4F}" dt="2025-07-03T11:58:44.861" v="3157"/>
        <pc:sldMkLst>
          <pc:docMk/>
          <pc:sldMk cId="3871691663" sldId="256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1278962043" sldId="257"/>
        </pc:sldMkLst>
      </pc:sldChg>
      <pc:sldChg chg="ord">
        <pc:chgData name="Kuehner, Andre (KL-GMI)" userId="4f8b43d9-1b07-4b66-9681-fb78f6f2d9be" providerId="ADAL" clId="{C4B8AC80-8120-4AA8-BF52-902D8C565A4F}" dt="2025-07-03T12:00:55.304" v="3169"/>
        <pc:sldMkLst>
          <pc:docMk/>
          <pc:sldMk cId="4199879009" sldId="258"/>
        </pc:sldMkLst>
      </pc:sldChg>
      <pc:sldChg chg="modSp mod ord">
        <pc:chgData name="Kuehner, Andre (KL-GMI)" userId="4f8b43d9-1b07-4b66-9681-fb78f6f2d9be" providerId="ADAL" clId="{C4B8AC80-8120-4AA8-BF52-902D8C565A4F}" dt="2025-07-03T12:01:12.136" v="3171"/>
        <pc:sldMkLst>
          <pc:docMk/>
          <pc:sldMk cId="2023531996" sldId="259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3295348988" sldId="260"/>
        </pc:sldMkLst>
      </pc:sldChg>
      <pc:sldChg chg="ord">
        <pc:chgData name="Kuehner, Andre (KL-GMI)" userId="4f8b43d9-1b07-4b66-9681-fb78f6f2d9be" providerId="ADAL" clId="{C4B8AC80-8120-4AA8-BF52-902D8C565A4F}" dt="2025-07-03T11:59:40.199" v="3163"/>
        <pc:sldMkLst>
          <pc:docMk/>
          <pc:sldMk cId="1693298864" sldId="263"/>
        </pc:sldMkLst>
      </pc:sldChg>
      <pc:sldChg chg="addSp modSp mod ord">
        <pc:chgData name="Kuehner, Andre (KL-GMI)" userId="4f8b43d9-1b07-4b66-9681-fb78f6f2d9be" providerId="ADAL" clId="{C4B8AC80-8120-4AA8-BF52-902D8C565A4F}" dt="2025-07-03T12:01:12.136" v="3171"/>
        <pc:sldMkLst>
          <pc:docMk/>
          <pc:sldMk cId="1338954379" sldId="264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3654477501" sldId="267"/>
        </pc:sldMkLst>
      </pc:sldChg>
      <pc:sldChg chg="addSp delSp modSp mod ord">
        <pc:chgData name="Kuehner, Andre (KL-GMI)" userId="4f8b43d9-1b07-4b66-9681-fb78f6f2d9be" providerId="ADAL" clId="{C4B8AC80-8120-4AA8-BF52-902D8C565A4F}" dt="2025-07-03T12:00:29.809" v="3167"/>
        <pc:sldMkLst>
          <pc:docMk/>
          <pc:sldMk cId="1867954401" sldId="268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805611282" sldId="269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1430882140" sldId="270"/>
        </pc:sldMkLst>
      </pc:sldChg>
      <pc:sldChg chg="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454252431" sldId="272"/>
        </pc:sldMkLst>
      </pc:sldChg>
      <pc:sldChg chg="modSp mod">
        <pc:chgData name="Kuehner, Andre (KL-GMI)" userId="4f8b43d9-1b07-4b66-9681-fb78f6f2d9be" providerId="ADAL" clId="{C4B8AC80-8120-4AA8-BF52-902D8C565A4F}" dt="2025-07-02T09:02:17.433" v="3021" actId="207"/>
        <pc:sldMkLst>
          <pc:docMk/>
          <pc:sldMk cId="2820640849" sldId="275"/>
        </pc:sldMkLst>
      </pc:sldChg>
      <pc:sldChg chg="modSp mod">
        <pc:chgData name="Kuehner, Andre (KL-GMI)" userId="4f8b43d9-1b07-4b66-9681-fb78f6f2d9be" providerId="ADAL" clId="{C4B8AC80-8120-4AA8-BF52-902D8C565A4F}" dt="2025-07-02T09:02:27.230" v="3023" actId="207"/>
        <pc:sldMkLst>
          <pc:docMk/>
          <pc:sldMk cId="1612006183" sldId="276"/>
        </pc:sldMkLst>
      </pc:sldChg>
      <pc:sldChg chg="modSp mod">
        <pc:chgData name="Kuehner, Andre (KL-GMI)" userId="4f8b43d9-1b07-4b66-9681-fb78f6f2d9be" providerId="ADAL" clId="{C4B8AC80-8120-4AA8-BF52-902D8C565A4F}" dt="2025-07-02T09:02:36.887" v="3025" actId="207"/>
        <pc:sldMkLst>
          <pc:docMk/>
          <pc:sldMk cId="348334011" sldId="277"/>
        </pc:sldMkLst>
      </pc:sldChg>
      <pc:sldChg chg="modSp mod">
        <pc:chgData name="Kuehner, Andre (KL-GMI)" userId="4f8b43d9-1b07-4b66-9681-fb78f6f2d9be" providerId="ADAL" clId="{C4B8AC80-8120-4AA8-BF52-902D8C565A4F}" dt="2025-07-02T09:02:41.991" v="3026" actId="207"/>
        <pc:sldMkLst>
          <pc:docMk/>
          <pc:sldMk cId="31834924" sldId="278"/>
        </pc:sldMkLst>
      </pc:sldChg>
      <pc:sldChg chg="addSp delSp modSp add mod ord">
        <pc:chgData name="Kuehner, Andre (KL-GMI)" userId="4f8b43d9-1b07-4b66-9681-fb78f6f2d9be" providerId="ADAL" clId="{C4B8AC80-8120-4AA8-BF52-902D8C565A4F}" dt="2025-06-12T07:49:51.097" v="948" actId="1076"/>
        <pc:sldMkLst>
          <pc:docMk/>
          <pc:sldMk cId="1707578414" sldId="279"/>
        </pc:sldMkLst>
      </pc:sldChg>
      <pc:sldChg chg="addSp delSp modSp add mod">
        <pc:chgData name="Kuehner, Andre (KL-GMI)" userId="4f8b43d9-1b07-4b66-9681-fb78f6f2d9be" providerId="ADAL" clId="{C4B8AC80-8120-4AA8-BF52-902D8C565A4F}" dt="2025-07-02T09:34:21.583" v="3063" actId="20577"/>
        <pc:sldMkLst>
          <pc:docMk/>
          <pc:sldMk cId="1031070699" sldId="280"/>
        </pc:sldMkLst>
      </pc:sldChg>
      <pc:sldChg chg="addSp delSp modSp add mod">
        <pc:chgData name="Kuehner, Andre (KL-GMI)" userId="4f8b43d9-1b07-4b66-9681-fb78f6f2d9be" providerId="ADAL" clId="{C4B8AC80-8120-4AA8-BF52-902D8C565A4F}" dt="2025-07-02T09:41:22.204" v="3127" actId="20577"/>
        <pc:sldMkLst>
          <pc:docMk/>
          <pc:sldMk cId="3307403129" sldId="281"/>
        </pc:sldMkLst>
      </pc:sldChg>
      <pc:sldChg chg="addSp modSp add mod ord">
        <pc:chgData name="Kuehner, Andre (KL-GMI)" userId="4f8b43d9-1b07-4b66-9681-fb78f6f2d9be" providerId="ADAL" clId="{C4B8AC80-8120-4AA8-BF52-902D8C565A4F}" dt="2025-07-03T11:57:48.078" v="3148"/>
        <pc:sldMkLst>
          <pc:docMk/>
          <pc:sldMk cId="816972542" sldId="282"/>
        </pc:sldMkLst>
      </pc:sldChg>
      <pc:sldChg chg="delSp modSp add mod ord">
        <pc:chgData name="Kuehner, Andre (KL-GMI)" userId="4f8b43d9-1b07-4b66-9681-fb78f6f2d9be" providerId="ADAL" clId="{C4B8AC80-8120-4AA8-BF52-902D8C565A4F}" dt="2025-07-03T11:58:04.743" v="3150"/>
        <pc:sldMkLst>
          <pc:docMk/>
          <pc:sldMk cId="2764424542" sldId="283"/>
        </pc:sldMkLst>
      </pc:sldChg>
      <pc:sldChg chg="addSp delSp modSp add mod ord">
        <pc:chgData name="Kuehner, Andre (KL-GMI)" userId="4f8b43d9-1b07-4b66-9681-fb78f6f2d9be" providerId="ADAL" clId="{C4B8AC80-8120-4AA8-BF52-902D8C565A4F}" dt="2025-07-03T11:58:10.279" v="3152"/>
        <pc:sldMkLst>
          <pc:docMk/>
          <pc:sldMk cId="2230683124" sldId="284"/>
        </pc:sldMkLst>
      </pc:sldChg>
      <pc:sldChg chg="addSp delSp modSp add mod ord">
        <pc:chgData name="Kuehner, Andre (KL-GMI)" userId="4f8b43d9-1b07-4b66-9681-fb78f6f2d9be" providerId="ADAL" clId="{C4B8AC80-8120-4AA8-BF52-902D8C565A4F}" dt="2025-07-03T11:59:16.544" v="3161"/>
        <pc:sldMkLst>
          <pc:docMk/>
          <pc:sldMk cId="109561647" sldId="285"/>
        </pc:sldMkLst>
      </pc:sldChg>
      <pc:sldChg chg="addSp modSp add mod ord">
        <pc:chgData name="Kuehner, Andre (KL-GMI)" userId="4f8b43d9-1b07-4b66-9681-fb78f6f2d9be" providerId="ADAL" clId="{C4B8AC80-8120-4AA8-BF52-902D8C565A4F}" dt="2025-07-03T11:58:37.087" v="3155" actId="20578"/>
        <pc:sldMkLst>
          <pc:docMk/>
          <pc:sldMk cId="1320646718" sldId="286"/>
        </pc:sldMkLst>
      </pc:sldChg>
      <pc:sldChg chg="addSp delSp modSp new del mod">
        <pc:chgData name="Kuehner, Andre (KL-GMI)" userId="4f8b43d9-1b07-4b66-9681-fb78f6f2d9be" providerId="ADAL" clId="{C4B8AC80-8120-4AA8-BF52-902D8C565A4F}" dt="2025-07-03T11:56:27.742" v="3138" actId="47"/>
        <pc:sldMkLst>
          <pc:docMk/>
          <pc:sldMk cId="2718478208" sldId="287"/>
        </pc:sldMkLst>
      </pc:sldChg>
      <pc:sldChg chg="addSp delSp modSp add mod">
        <pc:chgData name="Kuehner, Andre (KL-GMI)" userId="4f8b43d9-1b07-4b66-9681-fb78f6f2d9be" providerId="ADAL" clId="{C4B8AC80-8120-4AA8-BF52-902D8C565A4F}" dt="2025-07-03T11:56:00.976" v="3135" actId="478"/>
        <pc:sldMkLst>
          <pc:docMk/>
          <pc:sldMk cId="2345159433" sldId="288"/>
        </pc:sldMkLst>
      </pc:sldChg>
      <pc:sldChg chg="delSp modSp add mod">
        <pc:chgData name="Kuehner, Andre (KL-GMI)" userId="4f8b43d9-1b07-4b66-9681-fb78f6f2d9be" providerId="ADAL" clId="{C4B8AC80-8120-4AA8-BF52-902D8C565A4F}" dt="2025-07-01T06:05:53.109" v="2750" actId="478"/>
        <pc:sldMkLst>
          <pc:docMk/>
          <pc:sldMk cId="22065959" sldId="289"/>
        </pc:sldMkLst>
      </pc:sldChg>
      <pc:sldChg chg="addSp delSp modSp add mod ord">
        <pc:chgData name="Kuehner, Andre (KL-GMI)" userId="4f8b43d9-1b07-4b66-9681-fb78f6f2d9be" providerId="ADAL" clId="{C4B8AC80-8120-4AA8-BF52-902D8C565A4F}" dt="2025-07-01T06:09:53.691" v="2789" actId="113"/>
        <pc:sldMkLst>
          <pc:docMk/>
          <pc:sldMk cId="1121351270" sldId="290"/>
        </pc:sldMkLst>
      </pc:sldChg>
      <pc:sldChg chg="add del">
        <pc:chgData name="Kuehner, Andre (KL-GMI)" userId="4f8b43d9-1b07-4b66-9681-fb78f6f2d9be" providerId="ADAL" clId="{C4B8AC80-8120-4AA8-BF52-902D8C565A4F}" dt="2025-07-01T06:07:41.421" v="2752" actId="47"/>
        <pc:sldMkLst>
          <pc:docMk/>
          <pc:sldMk cId="1461379908" sldId="290"/>
        </pc:sldMkLst>
      </pc:sldChg>
      <pc:sldChg chg="modSp add mod">
        <pc:chgData name="Kuehner, Andre (KL-GMI)" userId="4f8b43d9-1b07-4b66-9681-fb78f6f2d9be" providerId="ADAL" clId="{C4B8AC80-8120-4AA8-BF52-902D8C565A4F}" dt="2025-07-01T06:11:30.628" v="2794" actId="113"/>
        <pc:sldMkLst>
          <pc:docMk/>
          <pc:sldMk cId="1212926122" sldId="291"/>
        </pc:sldMkLst>
      </pc:sldChg>
      <pc:sldChg chg="delSp modSp add mod ord">
        <pc:chgData name="Kuehner, Andre (KL-GMI)" userId="4f8b43d9-1b07-4b66-9681-fb78f6f2d9be" providerId="ADAL" clId="{C4B8AC80-8120-4AA8-BF52-902D8C565A4F}" dt="2025-07-03T12:01:33.155" v="3173"/>
        <pc:sldMkLst>
          <pc:docMk/>
          <pc:sldMk cId="3908886445" sldId="292"/>
        </pc:sldMkLst>
      </pc:sldChg>
    </pc:docChg>
  </pc:docChgLst>
  <pc:docChgLst>
    <pc:chgData name="Zan Pirc" userId="43757fef-ef70-4c97-a7dd-75ad2fb52df6" providerId="ADAL" clId="{803E45C1-253A-4B4C-97EA-23107E2BFE3B}"/>
    <pc:docChg chg="undo custSel mod modSld modMainMaster">
      <pc:chgData name="Zan Pirc" userId="43757fef-ef70-4c97-a7dd-75ad2fb52df6" providerId="ADAL" clId="{803E45C1-253A-4B4C-97EA-23107E2BFE3B}" dt="2025-08-12T09:04:50.872" v="732" actId="20577"/>
      <pc:docMkLst>
        <pc:docMk/>
      </pc:docMkLst>
      <pc:sldChg chg="delSp modSp mod modNotesTx">
        <pc:chgData name="Zan Pirc" userId="43757fef-ef70-4c97-a7dd-75ad2fb52df6" providerId="ADAL" clId="{803E45C1-253A-4B4C-97EA-23107E2BFE3B}" dt="2025-08-12T09:04:50.872" v="732" actId="20577"/>
        <pc:sldMkLst>
          <pc:docMk/>
          <pc:sldMk cId="3871691663" sldId="256"/>
        </pc:sldMkLst>
        <pc:spChg chg="mod">
          <ac:chgData name="Zan Pirc" userId="43757fef-ef70-4c97-a7dd-75ad2fb52df6" providerId="ADAL" clId="{803E45C1-253A-4B4C-97EA-23107E2BFE3B}" dt="2025-08-12T09:04:44.135" v="728" actId="1076"/>
          <ac:spMkLst>
            <pc:docMk/>
            <pc:sldMk cId="3871691663" sldId="256"/>
            <ac:spMk id="4" creationId="{3BEDCC5E-C083-1949-EDDE-499C6DDF5B1D}"/>
          </ac:spMkLst>
        </pc:spChg>
        <pc:graphicFrameChg chg="del">
          <ac:chgData name="Zan Pirc" userId="43757fef-ef70-4c97-a7dd-75ad2fb52df6" providerId="ADAL" clId="{803E45C1-253A-4B4C-97EA-23107E2BFE3B}" dt="2025-08-12T09:04:39.042" v="727" actId="478"/>
          <ac:graphicFrameMkLst>
            <pc:docMk/>
            <pc:sldMk cId="3871691663" sldId="256"/>
            <ac:graphicFrameMk id="2" creationId="{5086AC7C-78FF-03A3-03EB-F21990ADC348}"/>
          </ac:graphicFrameMkLst>
        </pc:graphicFrameChg>
        <pc:graphicFrameChg chg="mod">
          <ac:chgData name="Zan Pirc" userId="43757fef-ef70-4c97-a7dd-75ad2fb52df6" providerId="ADAL" clId="{803E45C1-253A-4B4C-97EA-23107E2BFE3B}" dt="2025-08-12T09:04:44.135" v="728" actId="1076"/>
          <ac:graphicFrameMkLst>
            <pc:docMk/>
            <pc:sldMk cId="3871691663" sldId="256"/>
            <ac:graphicFrameMk id="3" creationId="{C830A59F-EA39-469A-7B67-BB83F9EE1A41}"/>
          </ac:graphicFrameMkLst>
        </pc:graphicFrameChg>
      </pc:sldChg>
      <pc:sldChg chg="modNotesTx">
        <pc:chgData name="Zan Pirc" userId="43757fef-ef70-4c97-a7dd-75ad2fb52df6" providerId="ADAL" clId="{803E45C1-253A-4B4C-97EA-23107E2BFE3B}" dt="2025-08-06T07:27:36.381" v="294" actId="20577"/>
        <pc:sldMkLst>
          <pc:docMk/>
          <pc:sldMk cId="4199879009" sldId="258"/>
        </pc:sldMkLst>
      </pc:sldChg>
      <pc:sldChg chg="modNotesTx">
        <pc:chgData name="Zan Pirc" userId="43757fef-ef70-4c97-a7dd-75ad2fb52df6" providerId="ADAL" clId="{803E45C1-253A-4B4C-97EA-23107E2BFE3B}" dt="2025-08-06T07:41:44.643" v="441" actId="20577"/>
        <pc:sldMkLst>
          <pc:docMk/>
          <pc:sldMk cId="2023531996" sldId="259"/>
        </pc:sldMkLst>
      </pc:sldChg>
      <pc:sldChg chg="modNotesTx">
        <pc:chgData name="Zan Pirc" userId="43757fef-ef70-4c97-a7dd-75ad2fb52df6" providerId="ADAL" clId="{803E45C1-253A-4B4C-97EA-23107E2BFE3B}" dt="2025-08-06T07:27:52.494" v="315" actId="20577"/>
        <pc:sldMkLst>
          <pc:docMk/>
          <pc:sldMk cId="1256755918" sldId="261"/>
        </pc:sldMkLst>
      </pc:sldChg>
      <pc:sldChg chg="modNotesTx">
        <pc:chgData name="Zan Pirc" userId="43757fef-ef70-4c97-a7dd-75ad2fb52df6" providerId="ADAL" clId="{803E45C1-253A-4B4C-97EA-23107E2BFE3B}" dt="2025-08-06T07:30:20.038" v="345" actId="20577"/>
        <pc:sldMkLst>
          <pc:docMk/>
          <pc:sldMk cId="2824936273" sldId="262"/>
        </pc:sldMkLst>
      </pc:sldChg>
      <pc:sldChg chg="modNotesTx">
        <pc:chgData name="Zan Pirc" userId="43757fef-ef70-4c97-a7dd-75ad2fb52df6" providerId="ADAL" clId="{803E45C1-253A-4B4C-97EA-23107E2BFE3B}" dt="2025-08-06T08:16:41.449" v="462" actId="20577"/>
        <pc:sldMkLst>
          <pc:docMk/>
          <pc:sldMk cId="1338954379" sldId="264"/>
        </pc:sldMkLst>
      </pc:sldChg>
      <pc:sldChg chg="modNotesTx">
        <pc:chgData name="Zan Pirc" userId="43757fef-ef70-4c97-a7dd-75ad2fb52df6" providerId="ADAL" clId="{803E45C1-253A-4B4C-97EA-23107E2BFE3B}" dt="2025-08-07T14:04:34.690" v="694" actId="20577"/>
        <pc:sldMkLst>
          <pc:docMk/>
          <pc:sldMk cId="563532832" sldId="266"/>
        </pc:sldMkLst>
      </pc:sldChg>
      <pc:sldChg chg="modNotesTx">
        <pc:chgData name="Zan Pirc" userId="43757fef-ef70-4c97-a7dd-75ad2fb52df6" providerId="ADAL" clId="{803E45C1-253A-4B4C-97EA-23107E2BFE3B}" dt="2025-08-06T07:39:48.742" v="388" actId="20577"/>
        <pc:sldMkLst>
          <pc:docMk/>
          <pc:sldMk cId="1867954401" sldId="268"/>
        </pc:sldMkLst>
      </pc:sldChg>
      <pc:sldChg chg="modNotesTx">
        <pc:chgData name="Zan Pirc" userId="43757fef-ef70-4c97-a7dd-75ad2fb52df6" providerId="ADAL" clId="{803E45C1-253A-4B4C-97EA-23107E2BFE3B}" dt="2025-08-06T08:19:04.229" v="661" actId="5793"/>
        <pc:sldMkLst>
          <pc:docMk/>
          <pc:sldMk cId="3205066081" sldId="274"/>
        </pc:sldMkLst>
      </pc:sldChg>
      <pc:sldChg chg="modNotesTx">
        <pc:chgData name="Zan Pirc" userId="43757fef-ef70-4c97-a7dd-75ad2fb52df6" providerId="ADAL" clId="{803E45C1-253A-4B4C-97EA-23107E2BFE3B}" dt="2025-08-06T08:18:59.598" v="651" actId="5793"/>
        <pc:sldMkLst>
          <pc:docMk/>
          <pc:sldMk cId="2820640849" sldId="275"/>
        </pc:sldMkLst>
      </pc:sldChg>
      <pc:sldChg chg="modNotesTx">
        <pc:chgData name="Zan Pirc" userId="43757fef-ef70-4c97-a7dd-75ad2fb52df6" providerId="ADAL" clId="{803E45C1-253A-4B4C-97EA-23107E2BFE3B}" dt="2025-08-06T08:18:54.607" v="641" actId="20577"/>
        <pc:sldMkLst>
          <pc:docMk/>
          <pc:sldMk cId="1612006183" sldId="276"/>
        </pc:sldMkLst>
      </pc:sldChg>
      <pc:sldChg chg="modNotesTx">
        <pc:chgData name="Zan Pirc" userId="43757fef-ef70-4c97-a7dd-75ad2fb52df6" providerId="ADAL" clId="{803E45C1-253A-4B4C-97EA-23107E2BFE3B}" dt="2025-08-06T08:18:43.850" v="622" actId="20577"/>
        <pc:sldMkLst>
          <pc:docMk/>
          <pc:sldMk cId="348334011" sldId="277"/>
        </pc:sldMkLst>
      </pc:sldChg>
      <pc:sldChg chg="delSp modSp mod modNotesTx">
        <pc:chgData name="Zan Pirc" userId="43757fef-ef70-4c97-a7dd-75ad2fb52df6" providerId="ADAL" clId="{803E45C1-253A-4B4C-97EA-23107E2BFE3B}" dt="2025-08-11T12:48:29.516" v="702" actId="5736"/>
        <pc:sldMkLst>
          <pc:docMk/>
          <pc:sldMk cId="31834924" sldId="278"/>
        </pc:sldMkLst>
        <pc:spChg chg="del">
          <ac:chgData name="Zan Pirc" userId="43757fef-ef70-4c97-a7dd-75ad2fb52df6" providerId="ADAL" clId="{803E45C1-253A-4B4C-97EA-23107E2BFE3B}" dt="2025-08-11T12:47:53.469" v="699" actId="478"/>
          <ac:spMkLst>
            <pc:docMk/>
            <pc:sldMk cId="31834924" sldId="278"/>
            <ac:spMk id="2" creationId="{3D378D52-131B-0323-3823-99B819FD6130}"/>
          </ac:spMkLst>
        </pc:spChg>
        <pc:spChg chg="del">
          <ac:chgData name="Zan Pirc" userId="43757fef-ef70-4c97-a7dd-75ad2fb52df6" providerId="ADAL" clId="{803E45C1-253A-4B4C-97EA-23107E2BFE3B}" dt="2025-08-11T12:47:55.290" v="700" actId="478"/>
          <ac:spMkLst>
            <pc:docMk/>
            <pc:sldMk cId="31834924" sldId="278"/>
            <ac:spMk id="3" creationId="{78AA2B4F-DD9B-1C7C-FFE1-485E1A8CB2B8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132" creationId="{0C560633-66CB-AF7A-110B-24F25803FA4F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135" creationId="{24DDCEA1-7CE7-29F8-FEEA-EB3D0AF1DFDD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143" creationId="{AD0B99F6-79F5-8263-0E5B-E0C1FB2D2805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159" creationId="{32BD96AB-67A1-63A6-849B-6FA76C4279E7}"/>
          </ac:spMkLst>
        </pc:spChg>
        <pc:spChg chg="mod">
          <ac:chgData name="Zan Pirc" userId="43757fef-ef70-4c97-a7dd-75ad2fb52df6" providerId="ADAL" clId="{803E45C1-253A-4B4C-97EA-23107E2BFE3B}" dt="2025-08-07T13:38:01.975" v="669"/>
          <ac:spMkLst>
            <pc:docMk/>
            <pc:sldMk cId="31834924" sldId="278"/>
            <ac:spMk id="180" creationId="{76B3644C-FDC9-EBAC-642B-1C34D4FB93AE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10" creationId="{4D241A28-D0D2-4BFB-0384-C8F44FA1CA18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26" creationId="{EB1A950D-AB8A-FD96-F5F9-F67B8A6C4C0A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28" creationId="{314C4500-2CDF-D07D-97AE-0CF0B7A530CF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31" creationId="{AE37839A-1A74-3FE1-03FE-DD9042D0140C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36" creationId="{5A912F92-8824-C99F-1317-E592CA20B9BC}"/>
          </ac:spMkLst>
        </pc:spChg>
        <pc:spChg chg="mod">
          <ac:chgData name="Zan Pirc" userId="43757fef-ef70-4c97-a7dd-75ad2fb52df6" providerId="ADAL" clId="{803E45C1-253A-4B4C-97EA-23107E2BFE3B}" dt="2025-08-11T12:48:29.516" v="702" actId="5736"/>
          <ac:spMkLst>
            <pc:docMk/>
            <pc:sldMk cId="31834924" sldId="278"/>
            <ac:spMk id="372" creationId="{ED12B146-AB71-6BA0-926D-33EC1BF39692}"/>
          </ac:spMkLst>
        </pc:spChg>
      </pc:sldChg>
      <pc:sldChg chg="modNotesTx">
        <pc:chgData name="Zan Pirc" userId="43757fef-ef70-4c97-a7dd-75ad2fb52df6" providerId="ADAL" clId="{803E45C1-253A-4B4C-97EA-23107E2BFE3B}" dt="2025-08-06T08:18:35.304" v="611" actId="20577"/>
        <pc:sldMkLst>
          <pc:docMk/>
          <pc:sldMk cId="1707578414" sldId="279"/>
        </pc:sldMkLst>
      </pc:sldChg>
      <pc:sldChg chg="modNotesTx">
        <pc:chgData name="Zan Pirc" userId="43757fef-ef70-4c97-a7dd-75ad2fb52df6" providerId="ADAL" clId="{803E45C1-253A-4B4C-97EA-23107E2BFE3B}" dt="2025-08-06T08:18:30.708" v="602" actId="20577"/>
        <pc:sldMkLst>
          <pc:docMk/>
          <pc:sldMk cId="1031070699" sldId="280"/>
        </pc:sldMkLst>
      </pc:sldChg>
      <pc:sldChg chg="modNotesTx">
        <pc:chgData name="Zan Pirc" userId="43757fef-ef70-4c97-a7dd-75ad2fb52df6" providerId="ADAL" clId="{803E45C1-253A-4B4C-97EA-23107E2BFE3B}" dt="2025-08-11T13:21:08.495" v="726" actId="20577"/>
        <pc:sldMkLst>
          <pc:docMk/>
          <pc:sldMk cId="3307403129" sldId="281"/>
        </pc:sldMkLst>
      </pc:sldChg>
      <pc:sldChg chg="addSp delSp modSp mod modNotesTx">
        <pc:chgData name="Zan Pirc" userId="43757fef-ef70-4c97-a7dd-75ad2fb52df6" providerId="ADAL" clId="{803E45C1-253A-4B4C-97EA-23107E2BFE3B}" dt="2025-08-07T14:04:28.266" v="691" actId="478"/>
        <pc:sldMkLst>
          <pc:docMk/>
          <pc:sldMk cId="816972542" sldId="282"/>
        </pc:sldMkLst>
        <pc:spChg chg="add del mod">
          <ac:chgData name="Zan Pirc" userId="43757fef-ef70-4c97-a7dd-75ad2fb52df6" providerId="ADAL" clId="{803E45C1-253A-4B4C-97EA-23107E2BFE3B}" dt="2025-08-07T14:04:28.266" v="691" actId="478"/>
          <ac:spMkLst>
            <pc:docMk/>
            <pc:sldMk cId="816972542" sldId="282"/>
            <ac:spMk id="8" creationId="{8C8064F9-8B42-DB3C-836D-DBD998CFF6A5}"/>
          </ac:spMkLst>
        </pc:spChg>
        <pc:spChg chg="mod">
          <ac:chgData name="Zan Pirc" userId="43757fef-ef70-4c97-a7dd-75ad2fb52df6" providerId="ADAL" clId="{803E45C1-253A-4B4C-97EA-23107E2BFE3B}" dt="2025-08-07T14:04:13.510" v="689" actId="1076"/>
          <ac:spMkLst>
            <pc:docMk/>
            <pc:sldMk cId="816972542" sldId="282"/>
            <ac:spMk id="15" creationId="{465EC3E6-596D-1970-F099-C45B0CFBA3DF}"/>
          </ac:spMkLst>
        </pc:spChg>
        <pc:spChg chg="mod">
          <ac:chgData name="Zan Pirc" userId="43757fef-ef70-4c97-a7dd-75ad2fb52df6" providerId="ADAL" clId="{803E45C1-253A-4B4C-97EA-23107E2BFE3B}" dt="2025-08-07T14:04:13.510" v="689" actId="1076"/>
          <ac:spMkLst>
            <pc:docMk/>
            <pc:sldMk cId="816972542" sldId="282"/>
            <ac:spMk id="34" creationId="{FF4CDC12-72B8-81B9-16B9-901B0C4A341A}"/>
          </ac:spMkLst>
        </pc:spChg>
      </pc:sldChg>
      <pc:sldChg chg="modNotesTx">
        <pc:chgData name="Zan Pirc" userId="43757fef-ef70-4c97-a7dd-75ad2fb52df6" providerId="ADAL" clId="{803E45C1-253A-4B4C-97EA-23107E2BFE3B}" dt="2025-08-06T07:22:31.019" v="56" actId="20577"/>
        <pc:sldMkLst>
          <pc:docMk/>
          <pc:sldMk cId="2764424542" sldId="283"/>
        </pc:sldMkLst>
      </pc:sldChg>
      <pc:sldChg chg="modNotesTx">
        <pc:chgData name="Zan Pirc" userId="43757fef-ef70-4c97-a7dd-75ad2fb52df6" providerId="ADAL" clId="{803E45C1-253A-4B4C-97EA-23107E2BFE3B}" dt="2025-08-06T07:23:14.237" v="89" actId="20577"/>
        <pc:sldMkLst>
          <pc:docMk/>
          <pc:sldMk cId="2230683124" sldId="284"/>
        </pc:sldMkLst>
      </pc:sldChg>
      <pc:sldChg chg="modNotesTx">
        <pc:chgData name="Zan Pirc" userId="43757fef-ef70-4c97-a7dd-75ad2fb52df6" providerId="ADAL" clId="{803E45C1-253A-4B4C-97EA-23107E2BFE3B}" dt="2025-08-06T07:23:51.048" v="179" actId="20577"/>
        <pc:sldMkLst>
          <pc:docMk/>
          <pc:sldMk cId="109561647" sldId="285"/>
        </pc:sldMkLst>
      </pc:sldChg>
      <pc:sldChg chg="modNotesTx">
        <pc:chgData name="Zan Pirc" userId="43757fef-ef70-4c97-a7dd-75ad2fb52df6" providerId="ADAL" clId="{803E45C1-253A-4B4C-97EA-23107E2BFE3B}" dt="2025-08-06T07:23:59.588" v="199" actId="20577"/>
        <pc:sldMkLst>
          <pc:docMk/>
          <pc:sldMk cId="2345159433" sldId="288"/>
        </pc:sldMkLst>
      </pc:sldChg>
      <pc:sldChg chg="modNotesTx">
        <pc:chgData name="Zan Pirc" userId="43757fef-ef70-4c97-a7dd-75ad2fb52df6" providerId="ADAL" clId="{803E45C1-253A-4B4C-97EA-23107E2BFE3B}" dt="2025-08-06T07:24:27.007" v="228" actId="20577"/>
        <pc:sldMkLst>
          <pc:docMk/>
          <pc:sldMk cId="22065959" sldId="289"/>
        </pc:sldMkLst>
      </pc:sldChg>
      <pc:sldChg chg="modNotesTx">
        <pc:chgData name="Zan Pirc" userId="43757fef-ef70-4c97-a7dd-75ad2fb52df6" providerId="ADAL" clId="{803E45C1-253A-4B4C-97EA-23107E2BFE3B}" dt="2025-08-06T07:24:36.708" v="250" actId="20577"/>
        <pc:sldMkLst>
          <pc:docMk/>
          <pc:sldMk cId="1121351270" sldId="290"/>
        </pc:sldMkLst>
      </pc:sldChg>
      <pc:sldChg chg="modNotesTx">
        <pc:chgData name="Zan Pirc" userId="43757fef-ef70-4c97-a7dd-75ad2fb52df6" providerId="ADAL" clId="{803E45C1-253A-4B4C-97EA-23107E2BFE3B}" dt="2025-08-06T07:24:45.196" v="272" actId="20577"/>
        <pc:sldMkLst>
          <pc:docMk/>
          <pc:sldMk cId="1212926122" sldId="291"/>
        </pc:sldMkLst>
      </pc:sldChg>
      <pc:sldChg chg="modNotesTx">
        <pc:chgData name="Zan Pirc" userId="43757fef-ef70-4c97-a7dd-75ad2fb52df6" providerId="ADAL" clId="{803E45C1-253A-4B4C-97EA-23107E2BFE3B}" dt="2025-08-06T07:41:38.883" v="431" actId="20577"/>
        <pc:sldMkLst>
          <pc:docMk/>
          <pc:sldMk cId="3908886445" sldId="292"/>
        </pc:sldMkLst>
      </pc:sldChg>
      <pc:sldMasterChg chg="modSp mod">
        <pc:chgData name="Zan Pirc" userId="43757fef-ef70-4c97-a7dd-75ad2fb52df6" providerId="ADAL" clId="{803E45C1-253A-4B4C-97EA-23107E2BFE3B}" dt="2025-08-06T07:22:12.543" v="8" actId="33475"/>
        <pc:sldMasterMkLst>
          <pc:docMk/>
          <pc:sldMasterMk cId="2793410488" sldId="2147483740"/>
        </pc:sldMasterMkLst>
        <pc:spChg chg="mod">
          <ac:chgData name="Zan Pirc" userId="43757fef-ef70-4c97-a7dd-75ad2fb52df6" providerId="ADAL" clId="{803E45C1-253A-4B4C-97EA-23107E2BFE3B}" dt="2025-08-06T07:22:12.543" v="8" actId="33475"/>
          <ac:spMkLst>
            <pc:docMk/>
            <pc:sldMasterMk cId="2793410488" sldId="2147483740"/>
            <ac:spMk id="6" creationId="{A95F34AF-D442-B9C2-7152-1D925118FDDD}"/>
          </ac:spMkLst>
        </pc:spChg>
      </pc:sldMasterChg>
      <pc:sldMasterChg chg="modSp mod">
        <pc:chgData name="Zan Pirc" userId="43757fef-ef70-4c97-a7dd-75ad2fb52df6" providerId="ADAL" clId="{803E45C1-253A-4B4C-97EA-23107E2BFE3B}" dt="2025-08-06T07:22:12.543" v="8" actId="33475"/>
        <pc:sldMasterMkLst>
          <pc:docMk/>
          <pc:sldMasterMk cId="939338759" sldId="2147483787"/>
        </pc:sldMasterMkLst>
        <pc:spChg chg="mod">
          <ac:chgData name="Zan Pirc" userId="43757fef-ef70-4c97-a7dd-75ad2fb52df6" providerId="ADAL" clId="{803E45C1-253A-4B4C-97EA-23107E2BFE3B}" dt="2025-08-06T07:22:12.543" v="8" actId="33475"/>
          <ac:spMkLst>
            <pc:docMk/>
            <pc:sldMasterMk cId="939338759" sldId="2147483787"/>
            <ac:spMk id="8" creationId="{F6713D43-B7EB-51FE-80B2-FC9AAF4034CC}"/>
          </ac:spMkLst>
        </pc:sp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ompanies by Domain (key busines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20864320866141731"/>
          <c:y val="9.7804681483471864E-2"/>
          <c:w val="0.58271358267716533"/>
          <c:h val="0.8740703202466584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mpanies by Domain (key business)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E3B-4304-837E-B5ABD7F69DA7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E3B-4304-837E-B5ABD7F69DA7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3B-4304-837E-B5ABD7F69DA7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E3B-4304-837E-B5ABD7F69DA7}"/>
              </c:ext>
            </c:extLst>
          </c:dPt>
          <c:dPt>
            <c:idx val="4"/>
            <c:bubble3D val="0"/>
            <c:spPr>
              <a:solidFill>
                <a:schemeClr val="accent1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E3B-4304-837E-B5ABD7F69D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OEM</c:v>
                </c:pt>
                <c:pt idx="1">
                  <c:v>Chemistry</c:v>
                </c:pt>
                <c:pt idx="2">
                  <c:v>Electronics</c:v>
                </c:pt>
                <c:pt idx="3">
                  <c:v>Metal</c:v>
                </c:pt>
                <c:pt idx="4">
                  <c:v>Automotive Manufacturing</c:v>
                </c:pt>
              </c:strCache>
            </c:strRef>
          </c:cat>
          <c:val>
            <c:numRef>
              <c:f>Tabelle1!$B$2:$B$6</c:f>
              <c:numCache>
                <c:formatCode>0.0%</c:formatCode>
                <c:ptCount val="5"/>
                <c:pt idx="0">
                  <c:v>0.2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C1-46C9-8B5E-ADD3D254B0E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ompanies by Siz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20864320866141731"/>
          <c:y val="9.7804681483471864E-2"/>
          <c:w val="0.58271358267716533"/>
          <c:h val="0.8740703202466584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mpanies by Siz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13-4984-A21C-F415C26EC18C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313-4984-A21C-F415C26EC18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13-4984-A21C-F415C26EC18C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313-4984-A21C-F415C26EC18C}"/>
              </c:ext>
            </c:extLst>
          </c:dPt>
          <c:dPt>
            <c:idx val="4"/>
            <c:bubble3D val="0"/>
            <c:spPr>
              <a:solidFill>
                <a:schemeClr val="accent1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313-4984-A21C-F415C26EC1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2"/>
                <c:pt idx="0">
                  <c:v>More than 5.000</c:v>
                </c:pt>
                <c:pt idx="1">
                  <c:v>Less than 250</c:v>
                </c:pt>
              </c:strCache>
            </c:strRef>
          </c:cat>
          <c:val>
            <c:numRef>
              <c:f>Tabelle1!$B$2:$B$6</c:f>
              <c:numCache>
                <c:formatCode>0.0%</c:formatCode>
                <c:ptCount val="5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313-4984-A21C-F415C26EC18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articipant’s Domain / Departm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8</c:f>
              <c:strCache>
                <c:ptCount val="7"/>
                <c:pt idx="0">
                  <c:v>Purchasing</c:v>
                </c:pt>
                <c:pt idx="1">
                  <c:v>Logistics</c:v>
                </c:pt>
                <c:pt idx="2">
                  <c:v>Production</c:v>
                </c:pt>
                <c:pt idx="3">
                  <c:v>IT</c:v>
                </c:pt>
                <c:pt idx="4">
                  <c:v>Risk Management</c:v>
                </c:pt>
                <c:pt idx="5">
                  <c:v>Sales</c:v>
                </c:pt>
                <c:pt idx="6">
                  <c:v>Other / No Information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7</c:v>
                </c:pt>
                <c:pt idx="1">
                  <c:v>14</c:v>
                </c:pt>
                <c:pt idx="2">
                  <c:v>7</c:v>
                </c:pt>
                <c:pt idx="3">
                  <c:v>5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3B-48E6-88C9-05BD9C367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51307519"/>
        <c:axId val="1951305119"/>
      </c:barChart>
      <c:catAx>
        <c:axId val="19513075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51305119"/>
        <c:crosses val="autoZero"/>
        <c:auto val="1"/>
        <c:lblAlgn val="ctr"/>
        <c:lblOffset val="100"/>
        <c:noMultiLvlLbl val="0"/>
      </c:catAx>
      <c:valAx>
        <c:axId val="1951305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513075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0" i="0" u="none" strike="noStrike" kern="1200" spc="0" baseline="0" dirty="0">
                <a:solidFill>
                  <a:schemeClr val="bg1"/>
                </a:solidFill>
              </a:rPr>
              <a:t>Participants by Experi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20864320866141731"/>
          <c:y val="9.7804681483471864E-2"/>
          <c:w val="0.58271358267716533"/>
          <c:h val="0.8740703202466584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articipants by Experienc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917-4ADB-8DEE-08D59AE11DA9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917-4ADB-8DEE-08D59AE11DA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917-4ADB-8DEE-08D59AE11DA9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917-4ADB-8DEE-08D59AE11DA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3-5 years</c:v>
                </c:pt>
                <c:pt idx="1">
                  <c:v>5-10 years</c:v>
                </c:pt>
                <c:pt idx="2">
                  <c:v>10 or more years</c:v>
                </c:pt>
                <c:pt idx="3">
                  <c:v>No Information</c:v>
                </c:pt>
              </c:strCache>
            </c:strRef>
          </c:cat>
          <c:val>
            <c:numRef>
              <c:f>Tabelle1!$B$2:$B$5</c:f>
              <c:numCache>
                <c:formatCode>0.0%</c:formatCode>
                <c:ptCount val="4"/>
                <c:pt idx="0">
                  <c:v>0.06</c:v>
                </c:pt>
                <c:pt idx="1">
                  <c:v>0.05</c:v>
                </c:pt>
                <c:pt idx="2">
                  <c:v>0.78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917-4ADB-8DEE-08D59AE11DA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64320866141731"/>
          <c:y val="9.7804681483471864E-2"/>
          <c:w val="0.58271358267716533"/>
          <c:h val="0.8740703202466584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How would you use the PURIS framework?</c:v>
                </c:pt>
              </c:strCache>
            </c:strRef>
          </c:tx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917-4ADB-8DEE-08D59AE11DA9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917-4ADB-8DEE-08D59AE11DA9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917-4ADB-8DEE-08D59AE11DA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917-4ADB-8DEE-08D59AE11DA9}"/>
              </c:ext>
            </c:extLst>
          </c:dPt>
          <c:dPt>
            <c:idx val="4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C456-40BB-A514-194A12050EEE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456-40BB-A514-194A12050EE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Not at all</c:v>
                </c:pt>
                <c:pt idx="1">
                  <c:v>Case based
for shortage 
cases</c:v>
                </c:pt>
                <c:pt idx="2">
                  <c:v>Proactive 
for all parts</c:v>
                </c:pt>
                <c:pt idx="3">
                  <c:v>Proactive for 
most of the parts</c:v>
                </c:pt>
                <c:pt idx="4">
                  <c:v>Proactive 
for specific parts</c:v>
                </c:pt>
                <c:pt idx="5">
                  <c:v>Can't  say yet</c:v>
                </c:pt>
              </c:strCache>
            </c:strRef>
          </c:cat>
          <c:val>
            <c:numRef>
              <c:f>Tabelle1!$B$2:$B$7</c:f>
              <c:numCache>
                <c:formatCode>0.0%</c:formatCode>
                <c:ptCount val="6"/>
                <c:pt idx="0">
                  <c:v>0.1</c:v>
                </c:pt>
                <c:pt idx="1">
                  <c:v>0.3</c:v>
                </c:pt>
                <c:pt idx="2">
                  <c:v>0.2</c:v>
                </c:pt>
                <c:pt idx="3">
                  <c:v>0.1</c:v>
                </c:pt>
                <c:pt idx="4">
                  <c:v>0.2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917-4ADB-8DEE-08D59AE11DA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16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029</cdr:x>
      <cdr:y>0.5615</cdr:y>
    </cdr:from>
    <cdr:to>
      <cdr:x>0.98122</cdr:x>
      <cdr:y>0.71075</cdr:y>
    </cdr:to>
    <cdr:pic>
      <cdr:nvPicPr>
        <cdr:cNvPr id="2" name="Grafik 1" descr="Ein Bild, das Schwarz, Dunkelheit enthält.&#10;&#10;Automatisch generierte Beschreibung">
          <a:extLst xmlns:a="http://schemas.openxmlformats.org/drawingml/2006/main">
            <a:ext uri="{FF2B5EF4-FFF2-40B4-BE49-F238E27FC236}">
              <a16:creationId xmlns:a16="http://schemas.microsoft.com/office/drawing/2014/main" id="{3A4281D6-AE57-7524-18E4-5A5E514AAA18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 cstate="print">
          <a:duotone>
            <a:schemeClr val="accent4">
              <a:shade val="45000"/>
              <a:satMod val="135000"/>
            </a:schemeClr>
            <a:prstClr val="white"/>
          </a:duotone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 rot="19606418" flipV="1">
          <a:off x="5282607" y="3042602"/>
          <a:ext cx="1194282" cy="808694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2.08.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2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mpany-statis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12203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erviewees-demographic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5805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uris-u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5912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tegration-</a:t>
            </a:r>
            <a:r>
              <a:rPr lang="de-DE" dirty="0" err="1"/>
              <a:t>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uris-dc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2808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uris-dcm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</a:t>
            </a:r>
            <a:r>
              <a:rPr lang="en-SI" dirty="0"/>
              <a:t>ulti-customer-scenario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 dirty="0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rect-B</a:t>
            </a:r>
            <a:r>
              <a:rPr lang="en-SI" dirty="0"/>
              <a:t>ottlenect-co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809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12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5.xml"/><Relationship Id="rId6" Type="http://schemas.openxmlformats.org/officeDocument/2006/relationships/chart" Target="../charts/chart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6.xml"/><Relationship Id="rId6" Type="http://schemas.openxmlformats.org/officeDocument/2006/relationships/chart" Target="../charts/chart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.xml"/><Relationship Id="rId6" Type="http://schemas.openxmlformats.org/officeDocument/2006/relationships/chart" Target="../charts/chart5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5.svg"/><Relationship Id="rId12" Type="http://schemas.openxmlformats.org/officeDocument/2006/relationships/image" Target="../media/image70.png"/><Relationship Id="rId17" Type="http://schemas.openxmlformats.org/officeDocument/2006/relationships/image" Target="../media/image75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4.png"/><Relationship Id="rId1" Type="http://schemas.openxmlformats.org/officeDocument/2006/relationships/tags" Target="../tags/tag18.xml"/><Relationship Id="rId6" Type="http://schemas.openxmlformats.org/officeDocument/2006/relationships/image" Target="../media/image64.png"/><Relationship Id="rId11" Type="http://schemas.openxmlformats.org/officeDocument/2006/relationships/image" Target="../media/image69.svg"/><Relationship Id="rId5" Type="http://schemas.openxmlformats.org/officeDocument/2006/relationships/image" Target="../media/image21.emf"/><Relationship Id="rId15" Type="http://schemas.openxmlformats.org/officeDocument/2006/relationships/image" Target="../media/image73.svg"/><Relationship Id="rId10" Type="http://schemas.openxmlformats.org/officeDocument/2006/relationships/image" Target="../media/image6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67.svg"/><Relationship Id="rId14" Type="http://schemas.openxmlformats.org/officeDocument/2006/relationships/image" Target="../media/image7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svg"/><Relationship Id="rId18" Type="http://schemas.openxmlformats.org/officeDocument/2006/relationships/image" Target="../media/image88.png"/><Relationship Id="rId26" Type="http://schemas.openxmlformats.org/officeDocument/2006/relationships/image" Target="../media/image94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91.svg"/><Relationship Id="rId7" Type="http://schemas.openxmlformats.org/officeDocument/2006/relationships/image" Target="../media/image77.svg"/><Relationship Id="rId12" Type="http://schemas.openxmlformats.org/officeDocument/2006/relationships/image" Target="../media/image82.png"/><Relationship Id="rId17" Type="http://schemas.openxmlformats.org/officeDocument/2006/relationships/image" Target="../media/image87.svg"/><Relationship Id="rId25" Type="http://schemas.openxmlformats.org/officeDocument/2006/relationships/image" Target="../media/image93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6.png"/><Relationship Id="rId20" Type="http://schemas.openxmlformats.org/officeDocument/2006/relationships/image" Target="../media/image90.png"/><Relationship Id="rId1" Type="http://schemas.openxmlformats.org/officeDocument/2006/relationships/tags" Target="../tags/tag19.xml"/><Relationship Id="rId6" Type="http://schemas.openxmlformats.org/officeDocument/2006/relationships/image" Target="../media/image76.png"/><Relationship Id="rId11" Type="http://schemas.openxmlformats.org/officeDocument/2006/relationships/image" Target="../media/image81.svg"/><Relationship Id="rId24" Type="http://schemas.openxmlformats.org/officeDocument/2006/relationships/image" Target="../media/image92.png"/><Relationship Id="rId5" Type="http://schemas.openxmlformats.org/officeDocument/2006/relationships/image" Target="../media/image21.emf"/><Relationship Id="rId15" Type="http://schemas.openxmlformats.org/officeDocument/2006/relationships/image" Target="../media/image85.svg"/><Relationship Id="rId23" Type="http://schemas.openxmlformats.org/officeDocument/2006/relationships/image" Target="../media/image41.svg"/><Relationship Id="rId10" Type="http://schemas.openxmlformats.org/officeDocument/2006/relationships/image" Target="../media/image80.png"/><Relationship Id="rId19" Type="http://schemas.openxmlformats.org/officeDocument/2006/relationships/image" Target="../media/image89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79.svg"/><Relationship Id="rId14" Type="http://schemas.openxmlformats.org/officeDocument/2006/relationships/image" Target="../media/image84.png"/><Relationship Id="rId22" Type="http://schemas.openxmlformats.org/officeDocument/2006/relationships/image" Target="../media/image40.png"/><Relationship Id="rId27" Type="http://schemas.openxmlformats.org/officeDocument/2006/relationships/image" Target="../media/image95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9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svg"/><Relationship Id="rId18" Type="http://schemas.openxmlformats.org/officeDocument/2006/relationships/image" Target="../media/image38.png"/><Relationship Id="rId26" Type="http://schemas.openxmlformats.org/officeDocument/2006/relationships/image" Target="../media/image114.pn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09.svg"/><Relationship Id="rId7" Type="http://schemas.openxmlformats.org/officeDocument/2006/relationships/image" Target="../media/image99.svg"/><Relationship Id="rId12" Type="http://schemas.openxmlformats.org/officeDocument/2006/relationships/image" Target="../media/image104.png"/><Relationship Id="rId17" Type="http://schemas.openxmlformats.org/officeDocument/2006/relationships/image" Target="../media/image31.svg"/><Relationship Id="rId25" Type="http://schemas.openxmlformats.org/officeDocument/2006/relationships/image" Target="../media/image113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8.png"/><Relationship Id="rId29" Type="http://schemas.openxmlformats.org/officeDocument/2006/relationships/image" Target="../media/image117.svg"/><Relationship Id="rId1" Type="http://schemas.openxmlformats.org/officeDocument/2006/relationships/tags" Target="../tags/tag20.xml"/><Relationship Id="rId6" Type="http://schemas.openxmlformats.org/officeDocument/2006/relationships/image" Target="../media/image98.png"/><Relationship Id="rId11" Type="http://schemas.openxmlformats.org/officeDocument/2006/relationships/image" Target="../media/image103.svg"/><Relationship Id="rId24" Type="http://schemas.openxmlformats.org/officeDocument/2006/relationships/image" Target="../media/image112.png"/><Relationship Id="rId5" Type="http://schemas.openxmlformats.org/officeDocument/2006/relationships/image" Target="../media/image21.emf"/><Relationship Id="rId15" Type="http://schemas.openxmlformats.org/officeDocument/2006/relationships/image" Target="../media/image107.svg"/><Relationship Id="rId23" Type="http://schemas.openxmlformats.org/officeDocument/2006/relationships/image" Target="../media/image111.svg"/><Relationship Id="rId28" Type="http://schemas.openxmlformats.org/officeDocument/2006/relationships/image" Target="../media/image116.png"/><Relationship Id="rId10" Type="http://schemas.openxmlformats.org/officeDocument/2006/relationships/image" Target="../media/image102.png"/><Relationship Id="rId19" Type="http://schemas.openxmlformats.org/officeDocument/2006/relationships/image" Target="../media/image39.svg"/><Relationship Id="rId31" Type="http://schemas.openxmlformats.org/officeDocument/2006/relationships/image" Target="../media/image119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01.svg"/><Relationship Id="rId14" Type="http://schemas.openxmlformats.org/officeDocument/2006/relationships/image" Target="../media/image106.png"/><Relationship Id="rId22" Type="http://schemas.openxmlformats.org/officeDocument/2006/relationships/image" Target="../media/image110.png"/><Relationship Id="rId27" Type="http://schemas.openxmlformats.org/officeDocument/2006/relationships/image" Target="../media/image115.svg"/><Relationship Id="rId30" Type="http://schemas.openxmlformats.org/officeDocument/2006/relationships/image" Target="../media/image118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7.svg"/><Relationship Id="rId18" Type="http://schemas.openxmlformats.org/officeDocument/2006/relationships/image" Target="../media/image132.png"/><Relationship Id="rId26" Type="http://schemas.openxmlformats.org/officeDocument/2006/relationships/image" Target="../media/image14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5.svg"/><Relationship Id="rId34" Type="http://schemas.openxmlformats.org/officeDocument/2006/relationships/image" Target="../media/image107.svg"/><Relationship Id="rId7" Type="http://schemas.openxmlformats.org/officeDocument/2006/relationships/image" Target="../media/image121.svg"/><Relationship Id="rId12" Type="http://schemas.openxmlformats.org/officeDocument/2006/relationships/image" Target="../media/image126.png"/><Relationship Id="rId17" Type="http://schemas.openxmlformats.org/officeDocument/2006/relationships/image" Target="../media/image131.svg"/><Relationship Id="rId25" Type="http://schemas.openxmlformats.org/officeDocument/2006/relationships/image" Target="../media/image139.svg"/><Relationship Id="rId33" Type="http://schemas.openxmlformats.org/officeDocument/2006/relationships/image" Target="../media/image106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34.png"/><Relationship Id="rId29" Type="http://schemas.openxmlformats.org/officeDocument/2006/relationships/image" Target="../media/image143.svg"/><Relationship Id="rId1" Type="http://schemas.openxmlformats.org/officeDocument/2006/relationships/tags" Target="../tags/tag21.xml"/><Relationship Id="rId6" Type="http://schemas.openxmlformats.org/officeDocument/2006/relationships/image" Target="../media/image120.png"/><Relationship Id="rId11" Type="http://schemas.openxmlformats.org/officeDocument/2006/relationships/image" Target="../media/image125.svg"/><Relationship Id="rId24" Type="http://schemas.openxmlformats.org/officeDocument/2006/relationships/image" Target="../media/image138.png"/><Relationship Id="rId32" Type="http://schemas.openxmlformats.org/officeDocument/2006/relationships/image" Target="../media/image146.sv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37.svg"/><Relationship Id="rId28" Type="http://schemas.openxmlformats.org/officeDocument/2006/relationships/image" Target="../media/image142.png"/><Relationship Id="rId10" Type="http://schemas.openxmlformats.org/officeDocument/2006/relationships/image" Target="../media/image124.png"/><Relationship Id="rId19" Type="http://schemas.openxmlformats.org/officeDocument/2006/relationships/image" Target="../media/image133.svg"/><Relationship Id="rId31" Type="http://schemas.openxmlformats.org/officeDocument/2006/relationships/image" Target="../media/image145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3.svg"/><Relationship Id="rId14" Type="http://schemas.openxmlformats.org/officeDocument/2006/relationships/image" Target="../media/image128.png"/><Relationship Id="rId22" Type="http://schemas.openxmlformats.org/officeDocument/2006/relationships/image" Target="../media/image136.png"/><Relationship Id="rId27" Type="http://schemas.openxmlformats.org/officeDocument/2006/relationships/image" Target="../media/image141.svg"/><Relationship Id="rId30" Type="http://schemas.openxmlformats.org/officeDocument/2006/relationships/image" Target="../media/image144.svg"/><Relationship Id="rId8" Type="http://schemas.openxmlformats.org/officeDocument/2006/relationships/image" Target="../media/image12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27.svg"/><Relationship Id="rId18" Type="http://schemas.openxmlformats.org/officeDocument/2006/relationships/image" Target="../media/image132.png"/><Relationship Id="rId26" Type="http://schemas.openxmlformats.org/officeDocument/2006/relationships/image" Target="../media/image142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37.svg"/><Relationship Id="rId7" Type="http://schemas.openxmlformats.org/officeDocument/2006/relationships/image" Target="../media/image121.svg"/><Relationship Id="rId12" Type="http://schemas.openxmlformats.org/officeDocument/2006/relationships/image" Target="../media/image126.png"/><Relationship Id="rId17" Type="http://schemas.openxmlformats.org/officeDocument/2006/relationships/image" Target="../media/image131.svg"/><Relationship Id="rId25" Type="http://schemas.openxmlformats.org/officeDocument/2006/relationships/image" Target="../media/image1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36.png"/><Relationship Id="rId29" Type="http://schemas.openxmlformats.org/officeDocument/2006/relationships/image" Target="../media/image145.svg"/><Relationship Id="rId1" Type="http://schemas.openxmlformats.org/officeDocument/2006/relationships/tags" Target="../tags/tag22.xml"/><Relationship Id="rId6" Type="http://schemas.openxmlformats.org/officeDocument/2006/relationships/image" Target="../media/image120.png"/><Relationship Id="rId11" Type="http://schemas.openxmlformats.org/officeDocument/2006/relationships/image" Target="../media/image125.svg"/><Relationship Id="rId24" Type="http://schemas.openxmlformats.org/officeDocument/2006/relationships/image" Target="../media/image14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39.svg"/><Relationship Id="rId28" Type="http://schemas.openxmlformats.org/officeDocument/2006/relationships/image" Target="../media/image144.svg"/><Relationship Id="rId10" Type="http://schemas.openxmlformats.org/officeDocument/2006/relationships/image" Target="../media/image124.png"/><Relationship Id="rId19" Type="http://schemas.openxmlformats.org/officeDocument/2006/relationships/image" Target="../media/image133.svg"/><Relationship Id="rId31" Type="http://schemas.openxmlformats.org/officeDocument/2006/relationships/image" Target="../media/image107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3.svg"/><Relationship Id="rId14" Type="http://schemas.openxmlformats.org/officeDocument/2006/relationships/image" Target="../media/image128.png"/><Relationship Id="rId22" Type="http://schemas.openxmlformats.org/officeDocument/2006/relationships/image" Target="../media/image138.png"/><Relationship Id="rId27" Type="http://schemas.openxmlformats.org/officeDocument/2006/relationships/image" Target="../media/image143.svg"/><Relationship Id="rId30" Type="http://schemas.openxmlformats.org/officeDocument/2006/relationships/image" Target="../media/image10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9.svg"/><Relationship Id="rId18" Type="http://schemas.openxmlformats.org/officeDocument/2006/relationships/image" Target="../media/image136.png"/><Relationship Id="rId26" Type="http://schemas.openxmlformats.org/officeDocument/2006/relationships/image" Target="../media/image122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39.svg"/><Relationship Id="rId7" Type="http://schemas.openxmlformats.org/officeDocument/2006/relationships/image" Target="../media/image121.svg"/><Relationship Id="rId12" Type="http://schemas.openxmlformats.org/officeDocument/2006/relationships/image" Target="../media/image128.png"/><Relationship Id="rId17" Type="http://schemas.openxmlformats.org/officeDocument/2006/relationships/image" Target="../media/image133.svg"/><Relationship Id="rId25" Type="http://schemas.openxmlformats.org/officeDocument/2006/relationships/image" Target="../media/image107.svg"/><Relationship Id="rId33" Type="http://schemas.openxmlformats.org/officeDocument/2006/relationships/image" Target="../media/image148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2.png"/><Relationship Id="rId20" Type="http://schemas.openxmlformats.org/officeDocument/2006/relationships/image" Target="../media/image138.png"/><Relationship Id="rId29" Type="http://schemas.openxmlformats.org/officeDocument/2006/relationships/image" Target="../media/image141.svg"/><Relationship Id="rId1" Type="http://schemas.openxmlformats.org/officeDocument/2006/relationships/tags" Target="../tags/tag23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106.png"/><Relationship Id="rId32" Type="http://schemas.openxmlformats.org/officeDocument/2006/relationships/image" Target="../media/image147.png"/><Relationship Id="rId5" Type="http://schemas.openxmlformats.org/officeDocument/2006/relationships/image" Target="../media/image21.emf"/><Relationship Id="rId15" Type="http://schemas.openxmlformats.org/officeDocument/2006/relationships/image" Target="../media/image131.svg"/><Relationship Id="rId23" Type="http://schemas.openxmlformats.org/officeDocument/2006/relationships/image" Target="../media/image145.svg"/><Relationship Id="rId28" Type="http://schemas.openxmlformats.org/officeDocument/2006/relationships/image" Target="../media/image140.png"/><Relationship Id="rId10" Type="http://schemas.openxmlformats.org/officeDocument/2006/relationships/image" Target="../media/image126.png"/><Relationship Id="rId19" Type="http://schemas.openxmlformats.org/officeDocument/2006/relationships/image" Target="../media/image137.svg"/><Relationship Id="rId31" Type="http://schemas.openxmlformats.org/officeDocument/2006/relationships/image" Target="../media/image143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5.svg"/><Relationship Id="rId14" Type="http://schemas.openxmlformats.org/officeDocument/2006/relationships/image" Target="../media/image130.png"/><Relationship Id="rId22" Type="http://schemas.openxmlformats.org/officeDocument/2006/relationships/image" Target="../media/image144.svg"/><Relationship Id="rId27" Type="http://schemas.openxmlformats.org/officeDocument/2006/relationships/image" Target="../media/image123.svg"/><Relationship Id="rId30" Type="http://schemas.openxmlformats.org/officeDocument/2006/relationships/image" Target="../media/image142.png"/><Relationship Id="rId8" Type="http://schemas.openxmlformats.org/officeDocument/2006/relationships/image" Target="../media/image124.pn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9.svg"/><Relationship Id="rId18" Type="http://schemas.openxmlformats.org/officeDocument/2006/relationships/image" Target="../media/image136.png"/><Relationship Id="rId26" Type="http://schemas.openxmlformats.org/officeDocument/2006/relationships/image" Target="../media/image122.png"/><Relationship Id="rId3" Type="http://schemas.openxmlformats.org/officeDocument/2006/relationships/notesSlide" Target="../notesSlides/notesSlide21.xml"/><Relationship Id="rId21" Type="http://schemas.openxmlformats.org/officeDocument/2006/relationships/image" Target="../media/image139.svg"/><Relationship Id="rId7" Type="http://schemas.openxmlformats.org/officeDocument/2006/relationships/image" Target="../media/image121.svg"/><Relationship Id="rId12" Type="http://schemas.openxmlformats.org/officeDocument/2006/relationships/image" Target="../media/image128.png"/><Relationship Id="rId17" Type="http://schemas.openxmlformats.org/officeDocument/2006/relationships/image" Target="../media/image133.svg"/><Relationship Id="rId25" Type="http://schemas.openxmlformats.org/officeDocument/2006/relationships/image" Target="../media/image107.svg"/><Relationship Id="rId33" Type="http://schemas.openxmlformats.org/officeDocument/2006/relationships/image" Target="../media/image148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2.png"/><Relationship Id="rId20" Type="http://schemas.openxmlformats.org/officeDocument/2006/relationships/image" Target="../media/image138.png"/><Relationship Id="rId29" Type="http://schemas.openxmlformats.org/officeDocument/2006/relationships/image" Target="../media/image141.svg"/><Relationship Id="rId1" Type="http://schemas.openxmlformats.org/officeDocument/2006/relationships/tags" Target="../tags/tag24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106.png"/><Relationship Id="rId32" Type="http://schemas.openxmlformats.org/officeDocument/2006/relationships/image" Target="../media/image147.png"/><Relationship Id="rId5" Type="http://schemas.openxmlformats.org/officeDocument/2006/relationships/image" Target="../media/image21.emf"/><Relationship Id="rId15" Type="http://schemas.openxmlformats.org/officeDocument/2006/relationships/image" Target="../media/image131.svg"/><Relationship Id="rId23" Type="http://schemas.openxmlformats.org/officeDocument/2006/relationships/image" Target="../media/image145.svg"/><Relationship Id="rId28" Type="http://schemas.openxmlformats.org/officeDocument/2006/relationships/image" Target="../media/image140.png"/><Relationship Id="rId10" Type="http://schemas.openxmlformats.org/officeDocument/2006/relationships/image" Target="../media/image126.png"/><Relationship Id="rId19" Type="http://schemas.openxmlformats.org/officeDocument/2006/relationships/image" Target="../media/image137.svg"/><Relationship Id="rId31" Type="http://schemas.openxmlformats.org/officeDocument/2006/relationships/image" Target="../media/image143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5.svg"/><Relationship Id="rId14" Type="http://schemas.openxmlformats.org/officeDocument/2006/relationships/image" Target="../media/image130.png"/><Relationship Id="rId22" Type="http://schemas.openxmlformats.org/officeDocument/2006/relationships/image" Target="../media/image144.svg"/><Relationship Id="rId27" Type="http://schemas.openxmlformats.org/officeDocument/2006/relationships/image" Target="../media/image123.svg"/><Relationship Id="rId30" Type="http://schemas.openxmlformats.org/officeDocument/2006/relationships/image" Target="../media/image142.png"/><Relationship Id="rId8" Type="http://schemas.openxmlformats.org/officeDocument/2006/relationships/image" Target="../media/image1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44.svg"/><Relationship Id="rId18" Type="http://schemas.openxmlformats.org/officeDocument/2006/relationships/image" Target="../media/image136.png"/><Relationship Id="rId26" Type="http://schemas.openxmlformats.org/officeDocument/2006/relationships/image" Target="../media/image148.svg"/><Relationship Id="rId3" Type="http://schemas.openxmlformats.org/officeDocument/2006/relationships/notesSlide" Target="../notesSlides/notesSlide22.xml"/><Relationship Id="rId21" Type="http://schemas.openxmlformats.org/officeDocument/2006/relationships/image" Target="../media/image139.svg"/><Relationship Id="rId7" Type="http://schemas.openxmlformats.org/officeDocument/2006/relationships/image" Target="../media/image121.svg"/><Relationship Id="rId12" Type="http://schemas.openxmlformats.org/officeDocument/2006/relationships/image" Target="../media/image130.png"/><Relationship Id="rId17" Type="http://schemas.openxmlformats.org/officeDocument/2006/relationships/image" Target="../media/image129.svg"/><Relationship Id="rId25" Type="http://schemas.openxmlformats.org/officeDocument/2006/relationships/image" Target="../media/image147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8.png"/><Relationship Id="rId20" Type="http://schemas.openxmlformats.org/officeDocument/2006/relationships/image" Target="../media/image138.png"/><Relationship Id="rId1" Type="http://schemas.openxmlformats.org/officeDocument/2006/relationships/tags" Target="../tags/tag25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123.svg"/><Relationship Id="rId5" Type="http://schemas.openxmlformats.org/officeDocument/2006/relationships/image" Target="../media/image21.emf"/><Relationship Id="rId15" Type="http://schemas.openxmlformats.org/officeDocument/2006/relationships/image" Target="../media/image145.svg"/><Relationship Id="rId23" Type="http://schemas.openxmlformats.org/officeDocument/2006/relationships/image" Target="../media/image122.png"/><Relationship Id="rId10" Type="http://schemas.openxmlformats.org/officeDocument/2006/relationships/image" Target="../media/image126.png"/><Relationship Id="rId19" Type="http://schemas.openxmlformats.org/officeDocument/2006/relationships/image" Target="../media/image137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5.svg"/><Relationship Id="rId14" Type="http://schemas.openxmlformats.org/officeDocument/2006/relationships/image" Target="../media/image132.png"/><Relationship Id="rId22" Type="http://schemas.openxmlformats.org/officeDocument/2006/relationships/image" Target="../media/image133.sv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9.svg"/><Relationship Id="rId18" Type="http://schemas.openxmlformats.org/officeDocument/2006/relationships/image" Target="../media/image134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23.xml"/><Relationship Id="rId21" Type="http://schemas.openxmlformats.org/officeDocument/2006/relationships/image" Target="../media/image137.svg"/><Relationship Id="rId7" Type="http://schemas.openxmlformats.org/officeDocument/2006/relationships/image" Target="../media/image121.svg"/><Relationship Id="rId12" Type="http://schemas.openxmlformats.org/officeDocument/2006/relationships/image" Target="../media/image128.png"/><Relationship Id="rId17" Type="http://schemas.openxmlformats.org/officeDocument/2006/relationships/image" Target="../media/image133.svg"/><Relationship Id="rId25" Type="http://schemas.openxmlformats.org/officeDocument/2006/relationships/image" Target="../media/image107.svg"/><Relationship Id="rId33" Type="http://schemas.openxmlformats.org/officeDocument/2006/relationships/image" Target="../media/image156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2.png"/><Relationship Id="rId20" Type="http://schemas.openxmlformats.org/officeDocument/2006/relationships/image" Target="../media/image136.png"/><Relationship Id="rId29" Type="http://schemas.openxmlformats.org/officeDocument/2006/relationships/image" Target="../media/image152.svg"/><Relationship Id="rId1" Type="http://schemas.openxmlformats.org/officeDocument/2006/relationships/tags" Target="../tags/tag26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106.png"/><Relationship Id="rId32" Type="http://schemas.openxmlformats.org/officeDocument/2006/relationships/image" Target="../media/image155.png"/><Relationship Id="rId5" Type="http://schemas.openxmlformats.org/officeDocument/2006/relationships/image" Target="../media/image21.emf"/><Relationship Id="rId15" Type="http://schemas.openxmlformats.org/officeDocument/2006/relationships/image" Target="../media/image131.svg"/><Relationship Id="rId23" Type="http://schemas.openxmlformats.org/officeDocument/2006/relationships/image" Target="../media/image150.svg"/><Relationship Id="rId28" Type="http://schemas.openxmlformats.org/officeDocument/2006/relationships/image" Target="../media/image151.png"/><Relationship Id="rId10" Type="http://schemas.openxmlformats.org/officeDocument/2006/relationships/image" Target="../media/image126.png"/><Relationship Id="rId19" Type="http://schemas.openxmlformats.org/officeDocument/2006/relationships/image" Target="../media/image135.svg"/><Relationship Id="rId31" Type="http://schemas.openxmlformats.org/officeDocument/2006/relationships/image" Target="../media/image154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5.svg"/><Relationship Id="rId14" Type="http://schemas.openxmlformats.org/officeDocument/2006/relationships/image" Target="../media/image130.png"/><Relationship Id="rId22" Type="http://schemas.openxmlformats.org/officeDocument/2006/relationships/image" Target="../media/image149.png"/><Relationship Id="rId27" Type="http://schemas.openxmlformats.org/officeDocument/2006/relationships/image" Target="../media/image31.svg"/><Relationship Id="rId30" Type="http://schemas.openxmlformats.org/officeDocument/2006/relationships/image" Target="../media/image153.png"/><Relationship Id="rId8" Type="http://schemas.openxmlformats.org/officeDocument/2006/relationships/image" Target="../media/image12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svg"/><Relationship Id="rId18" Type="http://schemas.openxmlformats.org/officeDocument/2006/relationships/image" Target="../media/image136.png"/><Relationship Id="rId26" Type="http://schemas.openxmlformats.org/officeDocument/2006/relationships/image" Target="../media/image151.png"/><Relationship Id="rId3" Type="http://schemas.openxmlformats.org/officeDocument/2006/relationships/notesSlide" Target="../notesSlides/notesSlide24.xml"/><Relationship Id="rId21" Type="http://schemas.openxmlformats.org/officeDocument/2006/relationships/image" Target="../media/image150.svg"/><Relationship Id="rId7" Type="http://schemas.openxmlformats.org/officeDocument/2006/relationships/image" Target="../media/image121.svg"/><Relationship Id="rId12" Type="http://schemas.openxmlformats.org/officeDocument/2006/relationships/image" Target="../media/image128.png"/><Relationship Id="rId17" Type="http://schemas.openxmlformats.org/officeDocument/2006/relationships/image" Target="../media/image135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4.png"/><Relationship Id="rId20" Type="http://schemas.openxmlformats.org/officeDocument/2006/relationships/image" Target="../media/image149.png"/><Relationship Id="rId29" Type="http://schemas.openxmlformats.org/officeDocument/2006/relationships/image" Target="../media/image154.svg"/><Relationship Id="rId1" Type="http://schemas.openxmlformats.org/officeDocument/2006/relationships/tags" Target="../tags/tag27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33.svg"/><Relationship Id="rId23" Type="http://schemas.openxmlformats.org/officeDocument/2006/relationships/image" Target="../media/image107.svg"/><Relationship Id="rId28" Type="http://schemas.openxmlformats.org/officeDocument/2006/relationships/image" Target="../media/image153.png"/><Relationship Id="rId10" Type="http://schemas.openxmlformats.org/officeDocument/2006/relationships/image" Target="../media/image126.png"/><Relationship Id="rId19" Type="http://schemas.openxmlformats.org/officeDocument/2006/relationships/image" Target="../media/image137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5.svg"/><Relationship Id="rId14" Type="http://schemas.openxmlformats.org/officeDocument/2006/relationships/image" Target="../media/image132.png"/><Relationship Id="rId22" Type="http://schemas.openxmlformats.org/officeDocument/2006/relationships/image" Target="../media/image106.png"/><Relationship Id="rId27" Type="http://schemas.openxmlformats.org/officeDocument/2006/relationships/image" Target="../media/image152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svg"/><Relationship Id="rId18" Type="http://schemas.openxmlformats.org/officeDocument/2006/relationships/image" Target="../media/image136.png"/><Relationship Id="rId26" Type="http://schemas.openxmlformats.org/officeDocument/2006/relationships/image" Target="../media/image151.png"/><Relationship Id="rId3" Type="http://schemas.openxmlformats.org/officeDocument/2006/relationships/notesSlide" Target="../notesSlides/notesSlide25.xml"/><Relationship Id="rId21" Type="http://schemas.openxmlformats.org/officeDocument/2006/relationships/image" Target="../media/image150.svg"/><Relationship Id="rId7" Type="http://schemas.openxmlformats.org/officeDocument/2006/relationships/image" Target="../media/image121.svg"/><Relationship Id="rId12" Type="http://schemas.openxmlformats.org/officeDocument/2006/relationships/image" Target="../media/image128.png"/><Relationship Id="rId17" Type="http://schemas.openxmlformats.org/officeDocument/2006/relationships/image" Target="../media/image135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4.png"/><Relationship Id="rId20" Type="http://schemas.openxmlformats.org/officeDocument/2006/relationships/image" Target="../media/image149.png"/><Relationship Id="rId29" Type="http://schemas.openxmlformats.org/officeDocument/2006/relationships/image" Target="../media/image154.svg"/><Relationship Id="rId1" Type="http://schemas.openxmlformats.org/officeDocument/2006/relationships/tags" Target="../tags/tag28.xml"/><Relationship Id="rId6" Type="http://schemas.openxmlformats.org/officeDocument/2006/relationships/image" Target="../media/image120.png"/><Relationship Id="rId11" Type="http://schemas.openxmlformats.org/officeDocument/2006/relationships/image" Target="../media/image127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33.svg"/><Relationship Id="rId23" Type="http://schemas.openxmlformats.org/officeDocument/2006/relationships/image" Target="../media/image107.svg"/><Relationship Id="rId28" Type="http://schemas.openxmlformats.org/officeDocument/2006/relationships/image" Target="../media/image153.png"/><Relationship Id="rId10" Type="http://schemas.openxmlformats.org/officeDocument/2006/relationships/image" Target="../media/image126.png"/><Relationship Id="rId19" Type="http://schemas.openxmlformats.org/officeDocument/2006/relationships/image" Target="../media/image137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5.svg"/><Relationship Id="rId14" Type="http://schemas.openxmlformats.org/officeDocument/2006/relationships/image" Target="../media/image132.png"/><Relationship Id="rId22" Type="http://schemas.openxmlformats.org/officeDocument/2006/relationships/image" Target="../media/image106.png"/><Relationship Id="rId27" Type="http://schemas.openxmlformats.org/officeDocument/2006/relationships/image" Target="../media/image15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4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4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85D81CB-6AF7-9F70-D584-A487C4E577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75D631-2B3A-4404-DAE2-D7BBE57E3C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C7CACE8-0AA9-C005-6B21-F64ADC8DF2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6DBCE1-A1D5-592A-FF4E-E604AE4FA8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FA8F759-92C5-3164-1F19-BBD3EFDA97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5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A8F759-92C5-3164-1F19-BBD3EFDA9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hteck 38">
            <a:extLst>
              <a:ext uri="{FF2B5EF4-FFF2-40B4-BE49-F238E27FC236}">
                <a16:creationId xmlns:a16="http://schemas.microsoft.com/office/drawing/2014/main" id="{6D888A2E-855D-75A3-0513-5B1654A2E0CC}"/>
              </a:ext>
            </a:extLst>
          </p:cNvPr>
          <p:cNvSpPr/>
          <p:nvPr/>
        </p:nvSpPr>
        <p:spPr>
          <a:xfrm>
            <a:off x="133350" y="139700"/>
            <a:ext cx="11874500" cy="651798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8FD66DA-530C-4CCD-4DBF-0E3AFA2222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CAAF3D-0A40-BB2C-0BCB-3D913D436FC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34" name="Diagramm 33">
            <a:extLst>
              <a:ext uri="{FF2B5EF4-FFF2-40B4-BE49-F238E27FC236}">
                <a16:creationId xmlns:a16="http://schemas.microsoft.com/office/drawing/2014/main" id="{427CCDB6-723C-DC9E-CE7E-223DAA767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430788"/>
              </p:ext>
            </p:extLst>
          </p:nvPr>
        </p:nvGraphicFramePr>
        <p:xfrm>
          <a:off x="-692150" y="1239015"/>
          <a:ext cx="660082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Diagramm 34">
            <a:extLst>
              <a:ext uri="{FF2B5EF4-FFF2-40B4-BE49-F238E27FC236}">
                <a16:creationId xmlns:a16="http://schemas.microsoft.com/office/drawing/2014/main" id="{58649551-1CF9-8F76-5062-1BE6B07635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870559"/>
              </p:ext>
            </p:extLst>
          </p:nvPr>
        </p:nvGraphicFramePr>
        <p:xfrm>
          <a:off x="4846714" y="1239015"/>
          <a:ext cx="660082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6" name="Title 1">
            <a:extLst>
              <a:ext uri="{FF2B5EF4-FFF2-40B4-BE49-F238E27FC236}">
                <a16:creationId xmlns:a16="http://schemas.microsoft.com/office/drawing/2014/main" id="{9F2DA178-F51A-0226-7E14-FB0D1E592A2C}"/>
              </a:ext>
            </a:extLst>
          </p:cNvPr>
          <p:cNvSpPr txBox="1">
            <a:spLocks/>
          </p:cNvSpPr>
          <p:nvPr/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Descriptive Statistics about the company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6A0FDDC-C234-DF77-A4AC-E381F2812A11}"/>
              </a:ext>
            </a:extLst>
          </p:cNvPr>
          <p:cNvSpPr txBox="1"/>
          <p:nvPr/>
        </p:nvSpPr>
        <p:spPr>
          <a:xfrm>
            <a:off x="3949700" y="6001160"/>
            <a:ext cx="36512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10 Companies participated within the interviews</a:t>
            </a:r>
          </a:p>
        </p:txBody>
      </p:sp>
    </p:spTree>
    <p:extLst>
      <p:ext uri="{BB962C8B-B14F-4D97-AF65-F5344CB8AC3E}">
        <p14:creationId xmlns:p14="http://schemas.microsoft.com/office/powerpoint/2010/main" val="125675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AD9802-69CD-4382-A78F-DA3AA7F32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CF616A-C22D-3724-F286-64898FB0A9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074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F616A-C22D-3724-F286-64898FB0A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4210656-7FEC-7DFC-CC30-51EE3E8F894E}"/>
              </a:ext>
            </a:extLst>
          </p:cNvPr>
          <p:cNvSpPr/>
          <p:nvPr/>
        </p:nvSpPr>
        <p:spPr>
          <a:xfrm>
            <a:off x="133350" y="139700"/>
            <a:ext cx="11874500" cy="651798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2EA9C20-A433-E72C-CD5A-F9CE662B60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666A064-54D0-9E17-CF5F-A9202B9C7A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1C91A9D-3151-F096-D89D-6580CA004F32}"/>
              </a:ext>
            </a:extLst>
          </p:cNvPr>
          <p:cNvSpPr txBox="1">
            <a:spLocks/>
          </p:cNvSpPr>
          <p:nvPr/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Demographics of the interviewees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FC894AE-D7FA-1C1B-5933-0FB4A23CD9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055835"/>
              </p:ext>
            </p:extLst>
          </p:nvPr>
        </p:nvGraphicFramePr>
        <p:xfrm>
          <a:off x="565150" y="1259416"/>
          <a:ext cx="6115050" cy="4785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563EEAEB-C13A-8A39-9409-3A947BE961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6254120"/>
              </p:ext>
            </p:extLst>
          </p:nvPr>
        </p:nvGraphicFramePr>
        <p:xfrm>
          <a:off x="5829300" y="1175515"/>
          <a:ext cx="660082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2493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287330-D455-EE2D-1EBE-FA040D340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0E99B65-6B2A-1CE8-02F7-8D3C353220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E99B65-6B2A-1CE8-02F7-8D3C35322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397B7A5-E94E-A9DD-7837-F8BB35433722}"/>
              </a:ext>
            </a:extLst>
          </p:cNvPr>
          <p:cNvSpPr/>
          <p:nvPr/>
        </p:nvSpPr>
        <p:spPr>
          <a:xfrm>
            <a:off x="133350" y="139700"/>
            <a:ext cx="11874500" cy="651798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76C7C94-6A5E-2F41-BDF5-3DD888739A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456B05F-696E-D4ED-F6E1-77C99F626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6B45872C-850A-D08B-5DDC-0228529C9BAD}"/>
              </a:ext>
            </a:extLst>
          </p:cNvPr>
          <p:cNvSpPr txBox="1">
            <a:spLocks/>
          </p:cNvSpPr>
          <p:nvPr/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How would you use the PURIS framework?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B110ADC3-8006-106F-3B58-514529B287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3492659"/>
              </p:ext>
            </p:extLst>
          </p:nvPr>
        </p:nvGraphicFramePr>
        <p:xfrm>
          <a:off x="-530225" y="719666"/>
          <a:ext cx="660082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ilkreis 4">
            <a:extLst>
              <a:ext uri="{FF2B5EF4-FFF2-40B4-BE49-F238E27FC236}">
                <a16:creationId xmlns:a16="http://schemas.microsoft.com/office/drawing/2014/main" id="{090E9113-7CA7-A08B-3D28-BB15232BEC28}"/>
              </a:ext>
            </a:extLst>
          </p:cNvPr>
          <p:cNvSpPr/>
          <p:nvPr/>
        </p:nvSpPr>
        <p:spPr>
          <a:xfrm rot="16200000">
            <a:off x="840949" y="1675550"/>
            <a:ext cx="3858475" cy="3858475"/>
          </a:xfrm>
          <a:prstGeom prst="pie">
            <a:avLst>
              <a:gd name="adj1" fmla="val 0"/>
              <a:gd name="adj2" fmla="val 10789374"/>
            </a:avLst>
          </a:prstGeom>
          <a:ln w="38100">
            <a:solidFill>
              <a:srgbClr val="92D050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1215607-190C-6799-4B11-9CB9D891E42D}"/>
              </a:ext>
            </a:extLst>
          </p:cNvPr>
          <p:cNvSpPr txBox="1"/>
          <p:nvPr/>
        </p:nvSpPr>
        <p:spPr>
          <a:xfrm>
            <a:off x="5835311" y="1768427"/>
            <a:ext cx="466759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 50% of the companies indicated they would use PURIS in a proactive way,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derscoring the strong interest and confidence in its capabilities. With PURIS, the overall efficiency will be significantly improved. For addressing shortages, applying PURIS is seen as a quick win since it can be seamlessly integrated with existing processes.</a:t>
            </a:r>
            <a:endParaRPr lang="de-DE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53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133350" y="139700"/>
            <a:ext cx="11874500" cy="6517982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4688827-9B95-5AD3-2633-3E72F836910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3DEF9A-9E90-2735-869A-D03A811321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133350" y="440987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C455B1D-6D5B-2679-B018-BCC395D4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8E250C-331A-594E-ED89-7E2795A944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9A3686F-5A23-047C-5F00-7DE958FFE1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F8CE71-E8E9-46DA-8ABC-E3862A26AB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AF7CC8A-8B90-BAC6-AAC1-06715C95FEDE}"/>
              </a:ext>
            </a:extLst>
          </p:cNvPr>
          <p:cNvSpPr/>
          <p:nvPr/>
        </p:nvSpPr>
        <p:spPr>
          <a:xfrm>
            <a:off x="3107180" y="811883"/>
            <a:ext cx="3740860" cy="5366668"/>
          </a:xfrm>
          <a:prstGeom prst="rect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180000" rtlCol="0" anchor="t"/>
          <a:lstStyle/>
          <a:p>
            <a:pPr algn="ctr"/>
            <a:r>
              <a:rPr lang="de-DE" b="1"/>
              <a:t>PURIS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9386504-2D60-67FD-39B9-8447A2F64CDD}"/>
              </a:ext>
            </a:extLst>
          </p:cNvPr>
          <p:cNvSpPr/>
          <p:nvPr/>
        </p:nvSpPr>
        <p:spPr>
          <a:xfrm>
            <a:off x="7747031" y="811883"/>
            <a:ext cx="3740860" cy="5366668"/>
          </a:xfrm>
          <a:prstGeom prst="rect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180000" rtlCol="0" anchor="t"/>
          <a:lstStyle/>
          <a:p>
            <a:pPr algn="ctr"/>
            <a:r>
              <a:rPr lang="de-DE" b="1"/>
              <a:t>DCM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B2DCBB0F-3C8A-1A98-7B38-5F89E5723665}"/>
              </a:ext>
            </a:extLst>
          </p:cNvPr>
          <p:cNvSpPr>
            <a:spLocks/>
          </p:cNvSpPr>
          <p:nvPr/>
        </p:nvSpPr>
        <p:spPr>
          <a:xfrm>
            <a:off x="654899" y="3087483"/>
            <a:ext cx="11064124" cy="1653271"/>
          </a:xfrm>
          <a:prstGeom prst="rect">
            <a:avLst/>
          </a:prstGeom>
          <a:solidFill>
            <a:schemeClr val="tx1">
              <a:lumMod val="95000"/>
              <a:lumOff val="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de-DE" sz="1200"/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9D1D97CC-4621-5238-6B62-09E9A100F358}"/>
              </a:ext>
            </a:extLst>
          </p:cNvPr>
          <p:cNvSpPr txBox="1"/>
          <p:nvPr/>
        </p:nvSpPr>
        <p:spPr>
          <a:xfrm>
            <a:off x="821594" y="4148608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Time Horizon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FBFF47D8-BC26-D687-C193-7B5F86368013}"/>
              </a:ext>
            </a:extLst>
          </p:cNvPr>
          <p:cNvSpPr txBox="1"/>
          <p:nvPr/>
        </p:nvSpPr>
        <p:spPr>
          <a:xfrm>
            <a:off x="814412" y="4493679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 err="1">
                <a:solidFill>
                  <a:schemeClr val="bg1"/>
                </a:solidFill>
              </a:rPr>
              <a:t>Granularity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F0D19197-CA2E-ED56-D942-DDD7D1CE2027}"/>
              </a:ext>
            </a:extLst>
          </p:cNvPr>
          <p:cNvSpPr txBox="1"/>
          <p:nvPr/>
        </p:nvSpPr>
        <p:spPr>
          <a:xfrm rot="16200000">
            <a:off x="-202254" y="3803537"/>
            <a:ext cx="15068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</a:rPr>
              <a:t>BUSINESS VIEW</a:t>
            </a: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08052AE0-06D6-32F1-85DF-67EB65B17ECA}"/>
              </a:ext>
            </a:extLst>
          </p:cNvPr>
          <p:cNvSpPr txBox="1"/>
          <p:nvPr/>
        </p:nvSpPr>
        <p:spPr>
          <a:xfrm>
            <a:off x="821594" y="3803537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Focus on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1DC95BFA-7E5F-F337-A476-77945A68AD4E}"/>
              </a:ext>
            </a:extLst>
          </p:cNvPr>
          <p:cNvSpPr txBox="1"/>
          <p:nvPr/>
        </p:nvSpPr>
        <p:spPr>
          <a:xfrm>
            <a:off x="821594" y="3228307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Purpose</a:t>
            </a:r>
          </a:p>
        </p:txBody>
      </p:sp>
      <p:cxnSp>
        <p:nvCxnSpPr>
          <p:cNvPr id="12" name="Straight Connector 16">
            <a:extLst>
              <a:ext uri="{FF2B5EF4-FFF2-40B4-BE49-F238E27FC236}">
                <a16:creationId xmlns:a16="http://schemas.microsoft.com/office/drawing/2014/main" id="{4FD75803-75CF-D43C-602F-DEF33EEEA8EA}"/>
              </a:ext>
            </a:extLst>
          </p:cNvPr>
          <p:cNvCxnSpPr>
            <a:cxnSpLocks/>
          </p:cNvCxnSpPr>
          <p:nvPr/>
        </p:nvCxnSpPr>
        <p:spPr>
          <a:xfrm>
            <a:off x="812337" y="3751152"/>
            <a:ext cx="1054800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Connector 18">
            <a:extLst>
              <a:ext uri="{FF2B5EF4-FFF2-40B4-BE49-F238E27FC236}">
                <a16:creationId xmlns:a16="http://schemas.microsoft.com/office/drawing/2014/main" id="{1DC93626-862D-7527-EBAE-4862F5F91055}"/>
              </a:ext>
            </a:extLst>
          </p:cNvPr>
          <p:cNvCxnSpPr>
            <a:cxnSpLocks/>
          </p:cNvCxnSpPr>
          <p:nvPr/>
        </p:nvCxnSpPr>
        <p:spPr>
          <a:xfrm>
            <a:off x="812337" y="4083746"/>
            <a:ext cx="1054800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Connector 19">
            <a:extLst>
              <a:ext uri="{FF2B5EF4-FFF2-40B4-BE49-F238E27FC236}">
                <a16:creationId xmlns:a16="http://schemas.microsoft.com/office/drawing/2014/main" id="{69130A19-38C4-6629-D6C0-3E3781E91197}"/>
              </a:ext>
            </a:extLst>
          </p:cNvPr>
          <p:cNvCxnSpPr>
            <a:cxnSpLocks/>
          </p:cNvCxnSpPr>
          <p:nvPr/>
        </p:nvCxnSpPr>
        <p:spPr>
          <a:xfrm>
            <a:off x="812337" y="4432534"/>
            <a:ext cx="1054800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20">
            <a:extLst>
              <a:ext uri="{FF2B5EF4-FFF2-40B4-BE49-F238E27FC236}">
                <a16:creationId xmlns:a16="http://schemas.microsoft.com/office/drawing/2014/main" id="{17481482-6C1C-5F97-460F-58B8B5DC68EF}"/>
              </a:ext>
            </a:extLst>
          </p:cNvPr>
          <p:cNvSpPr txBox="1"/>
          <p:nvPr/>
        </p:nvSpPr>
        <p:spPr>
          <a:xfrm>
            <a:off x="3178596" y="3156568"/>
            <a:ext cx="35807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</a:rPr>
              <a:t>Enhanc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transparency</a:t>
            </a:r>
            <a:r>
              <a:rPr lang="de-DE" sz="1200" dirty="0">
                <a:solidFill>
                  <a:schemeClr val="bg1"/>
                </a:solidFill>
              </a:rPr>
              <a:t> &amp; </a:t>
            </a:r>
            <a:r>
              <a:rPr lang="de-DE" sz="1200" dirty="0" err="1">
                <a:solidFill>
                  <a:schemeClr val="bg1"/>
                </a:solidFill>
              </a:rPr>
              <a:t>plasubility</a:t>
            </a:r>
            <a:r>
              <a:rPr lang="de-DE" sz="1200" dirty="0">
                <a:solidFill>
                  <a:schemeClr val="bg1"/>
                </a:solidFill>
              </a:rPr>
              <a:t> of </a:t>
            </a:r>
            <a:r>
              <a:rPr lang="de-DE" sz="1200" dirty="0" err="1">
                <a:solidFill>
                  <a:schemeClr val="bg1"/>
                </a:solidFill>
              </a:rPr>
              <a:t>th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uppl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ituation</a:t>
            </a:r>
            <a:endParaRPr lang="de-DE" sz="12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</a:rPr>
              <a:t>Detect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prevent</a:t>
            </a:r>
            <a:r>
              <a:rPr lang="de-DE" sz="1200" dirty="0">
                <a:solidFill>
                  <a:schemeClr val="bg1"/>
                </a:solidFill>
              </a:rPr>
              <a:t> &amp; </a:t>
            </a:r>
            <a:r>
              <a:rPr lang="de-DE" sz="1200" dirty="0" err="1">
                <a:solidFill>
                  <a:schemeClr val="bg1"/>
                </a:solidFill>
              </a:rPr>
              <a:t>mitigat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hortage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6" name="TextBox 21">
            <a:extLst>
              <a:ext uri="{FF2B5EF4-FFF2-40B4-BE49-F238E27FC236}">
                <a16:creationId xmlns:a16="http://schemas.microsoft.com/office/drawing/2014/main" id="{D6D7F096-13CE-936D-7FAC-85D02E4FE55D}"/>
              </a:ext>
            </a:extLst>
          </p:cNvPr>
          <p:cNvSpPr txBox="1"/>
          <p:nvPr/>
        </p:nvSpPr>
        <p:spPr>
          <a:xfrm>
            <a:off x="7821970" y="3156565"/>
            <a:ext cx="36033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</a:rPr>
              <a:t>Optimiz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capacity</a:t>
            </a:r>
            <a:endParaRPr lang="de-DE" sz="12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</a:rPr>
              <a:t>Ensur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emand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ulfillmen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7" name="TextBox 22">
            <a:extLst>
              <a:ext uri="{FF2B5EF4-FFF2-40B4-BE49-F238E27FC236}">
                <a16:creationId xmlns:a16="http://schemas.microsoft.com/office/drawing/2014/main" id="{B186E875-0C1C-6D9E-D95A-000F6E83E78C}"/>
              </a:ext>
            </a:extLst>
          </p:cNvPr>
          <p:cNvSpPr txBox="1"/>
          <p:nvPr/>
        </p:nvSpPr>
        <p:spPr>
          <a:xfrm>
            <a:off x="3178596" y="3838903"/>
            <a:ext cx="35807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Material </a:t>
            </a:r>
            <a:r>
              <a:rPr lang="de-DE" sz="1200" dirty="0" err="1">
                <a:solidFill>
                  <a:schemeClr val="bg1"/>
                </a:solidFill>
              </a:rPr>
              <a:t>supplie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8" name="TextBox 23">
            <a:extLst>
              <a:ext uri="{FF2B5EF4-FFF2-40B4-BE49-F238E27FC236}">
                <a16:creationId xmlns:a16="http://schemas.microsoft.com/office/drawing/2014/main" id="{A45D6472-076D-F918-6746-17B4563C1BE0}"/>
              </a:ext>
            </a:extLst>
          </p:cNvPr>
          <p:cNvSpPr txBox="1"/>
          <p:nvPr/>
        </p:nvSpPr>
        <p:spPr>
          <a:xfrm>
            <a:off x="7821970" y="3838901"/>
            <a:ext cx="36033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Production </a:t>
            </a:r>
            <a:r>
              <a:rPr lang="de-DE" sz="1200" dirty="0" err="1">
                <a:solidFill>
                  <a:schemeClr val="bg1"/>
                </a:solidFill>
              </a:rPr>
              <a:t>capacitie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210924BC-011E-CBFC-6EBF-3AC2C51A9FFB}"/>
              </a:ext>
            </a:extLst>
          </p:cNvPr>
          <p:cNvSpPr txBox="1"/>
          <p:nvPr/>
        </p:nvSpPr>
        <p:spPr>
          <a:xfrm>
            <a:off x="3178596" y="4179089"/>
            <a:ext cx="35807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Today </a:t>
            </a:r>
            <a:r>
              <a:rPr lang="de-DE" sz="1200" dirty="0" err="1">
                <a:solidFill>
                  <a:schemeClr val="bg1"/>
                </a:solidFill>
              </a:rPr>
              <a:t>to</a:t>
            </a:r>
            <a:r>
              <a:rPr lang="de-DE" sz="1200" dirty="0">
                <a:solidFill>
                  <a:schemeClr val="bg1"/>
                </a:solidFill>
              </a:rPr>
              <a:t> 4 </a:t>
            </a:r>
            <a:r>
              <a:rPr lang="de-DE" sz="1200" dirty="0" err="1">
                <a:solidFill>
                  <a:schemeClr val="bg1"/>
                </a:solidFill>
              </a:rPr>
              <a:t>weeks</a:t>
            </a:r>
            <a:r>
              <a:rPr lang="de-DE" sz="1200" dirty="0">
                <a:solidFill>
                  <a:schemeClr val="bg1"/>
                </a:solidFill>
              </a:rPr>
              <a:t> (</a:t>
            </a:r>
            <a:r>
              <a:rPr lang="de-DE" sz="1200" dirty="0" err="1">
                <a:solidFill>
                  <a:schemeClr val="bg1"/>
                </a:solidFill>
              </a:rPr>
              <a:t>typical</a:t>
            </a:r>
            <a:r>
              <a:rPr lang="de-DE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6253FB62-1889-21E4-2079-FA870433BA77}"/>
              </a:ext>
            </a:extLst>
          </p:cNvPr>
          <p:cNvSpPr txBox="1"/>
          <p:nvPr/>
        </p:nvSpPr>
        <p:spPr>
          <a:xfrm>
            <a:off x="7821970" y="4179087"/>
            <a:ext cx="36033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&gt; 4 </a:t>
            </a:r>
            <a:r>
              <a:rPr lang="de-DE" sz="1200" dirty="0" err="1">
                <a:solidFill>
                  <a:schemeClr val="bg1"/>
                </a:solidFill>
              </a:rPr>
              <a:t>week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21" name="TextBox 27">
            <a:extLst>
              <a:ext uri="{FF2B5EF4-FFF2-40B4-BE49-F238E27FC236}">
                <a16:creationId xmlns:a16="http://schemas.microsoft.com/office/drawing/2014/main" id="{AE3830EB-BE3D-95A9-BB16-401A0A704C18}"/>
              </a:ext>
            </a:extLst>
          </p:cNvPr>
          <p:cNvSpPr txBox="1"/>
          <p:nvPr/>
        </p:nvSpPr>
        <p:spPr>
          <a:xfrm>
            <a:off x="3178596" y="4494447"/>
            <a:ext cx="35807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Daily</a:t>
            </a:r>
          </a:p>
        </p:txBody>
      </p:sp>
      <p:sp>
        <p:nvSpPr>
          <p:cNvPr id="22" name="TextBox 28">
            <a:extLst>
              <a:ext uri="{FF2B5EF4-FFF2-40B4-BE49-F238E27FC236}">
                <a16:creationId xmlns:a16="http://schemas.microsoft.com/office/drawing/2014/main" id="{6B7DA9A1-E631-7DAF-2B27-1E3F640BEBAF}"/>
              </a:ext>
            </a:extLst>
          </p:cNvPr>
          <p:cNvSpPr txBox="1"/>
          <p:nvPr/>
        </p:nvSpPr>
        <p:spPr>
          <a:xfrm>
            <a:off x="7821970" y="4494445"/>
            <a:ext cx="36033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Weekly</a:t>
            </a:r>
          </a:p>
        </p:txBody>
      </p:sp>
      <p:sp>
        <p:nvSpPr>
          <p:cNvPr id="23" name="Rectangle 29">
            <a:extLst>
              <a:ext uri="{FF2B5EF4-FFF2-40B4-BE49-F238E27FC236}">
                <a16:creationId xmlns:a16="http://schemas.microsoft.com/office/drawing/2014/main" id="{8CF32344-3670-3FD8-9449-A119AEEE1B49}"/>
              </a:ext>
            </a:extLst>
          </p:cNvPr>
          <p:cNvSpPr>
            <a:spLocks/>
          </p:cNvSpPr>
          <p:nvPr/>
        </p:nvSpPr>
        <p:spPr>
          <a:xfrm>
            <a:off x="654899" y="4959329"/>
            <a:ext cx="11064124" cy="873151"/>
          </a:xfrm>
          <a:prstGeom prst="rect">
            <a:avLst/>
          </a:prstGeom>
          <a:solidFill>
            <a:schemeClr val="tx1">
              <a:lumMod val="95000"/>
              <a:lumOff val="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de-DE" sz="1200"/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C6532C10-C9C0-32ED-2D28-63614F27AEC1}"/>
              </a:ext>
            </a:extLst>
          </p:cNvPr>
          <p:cNvSpPr txBox="1"/>
          <p:nvPr/>
        </p:nvSpPr>
        <p:spPr>
          <a:xfrm rot="16200000">
            <a:off x="-89299" y="5292360"/>
            <a:ext cx="128092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</a:rPr>
              <a:t>TECHNOLOGY</a:t>
            </a:r>
          </a:p>
        </p:txBody>
      </p:sp>
      <p:sp>
        <p:nvSpPr>
          <p:cNvPr id="25" name="TextBox 33">
            <a:extLst>
              <a:ext uri="{FF2B5EF4-FFF2-40B4-BE49-F238E27FC236}">
                <a16:creationId xmlns:a16="http://schemas.microsoft.com/office/drawing/2014/main" id="{FF184001-B608-5A4F-A8FF-EC9F3F6A7A70}"/>
              </a:ext>
            </a:extLst>
          </p:cNvPr>
          <p:cNvSpPr txBox="1"/>
          <p:nvPr/>
        </p:nvSpPr>
        <p:spPr>
          <a:xfrm>
            <a:off x="821594" y="5515572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26" name="TextBox 34">
            <a:extLst>
              <a:ext uri="{FF2B5EF4-FFF2-40B4-BE49-F238E27FC236}">
                <a16:creationId xmlns:a16="http://schemas.microsoft.com/office/drawing/2014/main" id="{C55A735C-1E16-F67A-33E6-F57343044C64}"/>
              </a:ext>
            </a:extLst>
          </p:cNvPr>
          <p:cNvSpPr txBox="1"/>
          <p:nvPr/>
        </p:nvSpPr>
        <p:spPr>
          <a:xfrm>
            <a:off x="821594" y="5020915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 err="1">
                <a:solidFill>
                  <a:schemeClr val="bg1"/>
                </a:solidFill>
              </a:rPr>
              <a:t>Direction</a:t>
            </a:r>
            <a:endParaRPr lang="de-DE" sz="1200" b="1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35">
            <a:extLst>
              <a:ext uri="{FF2B5EF4-FFF2-40B4-BE49-F238E27FC236}">
                <a16:creationId xmlns:a16="http://schemas.microsoft.com/office/drawing/2014/main" id="{A0C2DBFF-7258-90D5-D868-6FD660F45EFE}"/>
              </a:ext>
            </a:extLst>
          </p:cNvPr>
          <p:cNvCxnSpPr>
            <a:cxnSpLocks/>
          </p:cNvCxnSpPr>
          <p:nvPr/>
        </p:nvCxnSpPr>
        <p:spPr>
          <a:xfrm>
            <a:off x="812337" y="5301767"/>
            <a:ext cx="1054800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prstDash val="dash"/>
            <a:headEnd type="none" w="med" len="sm"/>
            <a:tailEnd type="none" w="med" len="sm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38">
            <a:extLst>
              <a:ext uri="{FF2B5EF4-FFF2-40B4-BE49-F238E27FC236}">
                <a16:creationId xmlns:a16="http://schemas.microsoft.com/office/drawing/2014/main" id="{A1A88A11-E29C-0350-DF17-54083BD3F28E}"/>
              </a:ext>
            </a:extLst>
          </p:cNvPr>
          <p:cNvSpPr txBox="1"/>
          <p:nvPr/>
        </p:nvSpPr>
        <p:spPr>
          <a:xfrm>
            <a:off x="3178596" y="5042288"/>
            <a:ext cx="35807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Pull</a:t>
            </a:r>
          </a:p>
        </p:txBody>
      </p:sp>
      <p:sp>
        <p:nvSpPr>
          <p:cNvPr id="29" name="TextBox 39">
            <a:extLst>
              <a:ext uri="{FF2B5EF4-FFF2-40B4-BE49-F238E27FC236}">
                <a16:creationId xmlns:a16="http://schemas.microsoft.com/office/drawing/2014/main" id="{505BAF65-9A8F-BDC6-6A55-5BF28D9E9988}"/>
              </a:ext>
            </a:extLst>
          </p:cNvPr>
          <p:cNvSpPr txBox="1"/>
          <p:nvPr/>
        </p:nvSpPr>
        <p:spPr>
          <a:xfrm>
            <a:off x="7821970" y="5042285"/>
            <a:ext cx="36033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Push</a:t>
            </a:r>
          </a:p>
        </p:txBody>
      </p:sp>
      <p:sp>
        <p:nvSpPr>
          <p:cNvPr id="30" name="TextBox 40">
            <a:extLst>
              <a:ext uri="{FF2B5EF4-FFF2-40B4-BE49-F238E27FC236}">
                <a16:creationId xmlns:a16="http://schemas.microsoft.com/office/drawing/2014/main" id="{F2906738-961C-BF33-AB8A-8129FF91BF64}"/>
              </a:ext>
            </a:extLst>
          </p:cNvPr>
          <p:cNvSpPr txBox="1"/>
          <p:nvPr/>
        </p:nvSpPr>
        <p:spPr>
          <a:xfrm>
            <a:off x="3178596" y="5392056"/>
            <a:ext cx="35807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bg1"/>
                </a:solidFill>
              </a:rPr>
              <a:t>Mandatory</a:t>
            </a:r>
            <a:r>
              <a:rPr lang="de-DE" sz="1200" dirty="0">
                <a:solidFill>
                  <a:schemeClr val="bg1"/>
                </a:solidFill>
              </a:rPr>
              <a:t>: Digital Twins </a:t>
            </a:r>
            <a:r>
              <a:rPr lang="de-DE" sz="1200" dirty="0" err="1">
                <a:solidFill>
                  <a:schemeClr val="bg1"/>
                </a:solidFill>
              </a:rPr>
              <a:t>with</a:t>
            </a:r>
            <a:r>
              <a:rPr lang="de-DE" sz="1200" dirty="0">
                <a:solidFill>
                  <a:schemeClr val="bg1"/>
                </a:solidFill>
              </a:rPr>
              <a:t> Industry Core (Part Type)</a:t>
            </a:r>
          </a:p>
        </p:txBody>
      </p:sp>
      <p:sp>
        <p:nvSpPr>
          <p:cNvPr id="31" name="TextBox 41">
            <a:extLst>
              <a:ext uri="{FF2B5EF4-FFF2-40B4-BE49-F238E27FC236}">
                <a16:creationId xmlns:a16="http://schemas.microsoft.com/office/drawing/2014/main" id="{4DC542A1-C1A9-4FE8-5427-6C3150800452}"/>
              </a:ext>
            </a:extLst>
          </p:cNvPr>
          <p:cNvSpPr txBox="1"/>
          <p:nvPr/>
        </p:nvSpPr>
        <p:spPr>
          <a:xfrm>
            <a:off x="7821970" y="5377570"/>
            <a:ext cx="36033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Common: API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</a:rPr>
              <a:t>Optional: Digital Twins </a:t>
            </a:r>
            <a:r>
              <a:rPr lang="de-DE" sz="1200" dirty="0" err="1">
                <a:solidFill>
                  <a:schemeClr val="bg1"/>
                </a:solidFill>
              </a:rPr>
              <a:t>with</a:t>
            </a:r>
            <a:r>
              <a:rPr lang="de-DE" sz="1200" dirty="0">
                <a:solidFill>
                  <a:schemeClr val="bg1"/>
                </a:solidFill>
              </a:rPr>
              <a:t> IC (Part Type)</a:t>
            </a:r>
          </a:p>
        </p:txBody>
      </p:sp>
      <p:sp>
        <p:nvSpPr>
          <p:cNvPr id="32" name="Rectangle 46">
            <a:extLst>
              <a:ext uri="{FF2B5EF4-FFF2-40B4-BE49-F238E27FC236}">
                <a16:creationId xmlns:a16="http://schemas.microsoft.com/office/drawing/2014/main" id="{378B91ED-ECBB-03F0-60A2-FE0275CBA5F1}"/>
              </a:ext>
            </a:extLst>
          </p:cNvPr>
          <p:cNvSpPr>
            <a:spLocks/>
          </p:cNvSpPr>
          <p:nvPr/>
        </p:nvSpPr>
        <p:spPr>
          <a:xfrm>
            <a:off x="637842" y="1268350"/>
            <a:ext cx="11064124" cy="1610494"/>
          </a:xfrm>
          <a:prstGeom prst="rect">
            <a:avLst/>
          </a:prstGeom>
          <a:solidFill>
            <a:schemeClr val="tx1">
              <a:lumMod val="95000"/>
              <a:lumOff val="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de-DE" sz="1200"/>
          </a:p>
          <a:p>
            <a:endParaRPr lang="de-DE" sz="1200"/>
          </a:p>
          <a:p>
            <a:endParaRPr lang="de-DE" sz="1200"/>
          </a:p>
          <a:p>
            <a:endParaRPr lang="de-DE" sz="1200"/>
          </a:p>
          <a:p>
            <a:endParaRPr lang="de-DE" sz="1200"/>
          </a:p>
          <a:p>
            <a:endParaRPr lang="de-DE" sz="1200"/>
          </a:p>
          <a:p>
            <a:endParaRPr lang="de-DE" sz="1200"/>
          </a:p>
          <a:p>
            <a:endParaRPr lang="de-DE" sz="1200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8D10393B-71F9-6C97-9939-334AAF5DD902}"/>
              </a:ext>
            </a:extLst>
          </p:cNvPr>
          <p:cNvSpPr txBox="1"/>
          <p:nvPr/>
        </p:nvSpPr>
        <p:spPr>
          <a:xfrm rot="16200000">
            <a:off x="-147891" y="1875072"/>
            <a:ext cx="13981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</a:rPr>
              <a:t>DISTINCTION</a:t>
            </a:r>
          </a:p>
        </p:txBody>
      </p:sp>
      <p:sp>
        <p:nvSpPr>
          <p:cNvPr id="34" name="TextBox 49">
            <a:extLst>
              <a:ext uri="{FF2B5EF4-FFF2-40B4-BE49-F238E27FC236}">
                <a16:creationId xmlns:a16="http://schemas.microsoft.com/office/drawing/2014/main" id="{BA2B838F-52D6-6F38-C4EA-FFE10AEC131D}"/>
              </a:ext>
            </a:extLst>
          </p:cNvPr>
          <p:cNvSpPr txBox="1"/>
          <p:nvPr/>
        </p:nvSpPr>
        <p:spPr>
          <a:xfrm>
            <a:off x="804537" y="1321056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de-DE" sz="1200" b="1">
              <a:solidFill>
                <a:schemeClr val="tx2"/>
              </a:solidFill>
            </a:endParaRPr>
          </a:p>
        </p:txBody>
      </p:sp>
      <p:sp>
        <p:nvSpPr>
          <p:cNvPr id="35" name="TextBox 56">
            <a:extLst>
              <a:ext uri="{FF2B5EF4-FFF2-40B4-BE49-F238E27FC236}">
                <a16:creationId xmlns:a16="http://schemas.microsoft.com/office/drawing/2014/main" id="{37633661-5FA0-40A7-4068-B1AF829F1AEB}"/>
              </a:ext>
            </a:extLst>
          </p:cNvPr>
          <p:cNvSpPr txBox="1"/>
          <p:nvPr/>
        </p:nvSpPr>
        <p:spPr>
          <a:xfrm>
            <a:off x="795280" y="2068179"/>
            <a:ext cx="11300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PURIS &amp; DCM</a:t>
            </a:r>
          </a:p>
        </p:txBody>
      </p:sp>
      <p:sp>
        <p:nvSpPr>
          <p:cNvPr id="36" name="TextBox 15">
            <a:extLst>
              <a:ext uri="{FF2B5EF4-FFF2-40B4-BE49-F238E27FC236}">
                <a16:creationId xmlns:a16="http://schemas.microsoft.com/office/drawing/2014/main" id="{4FFB7C0C-DF99-EAFA-621C-DB56302BE06B}"/>
              </a:ext>
            </a:extLst>
          </p:cNvPr>
          <p:cNvSpPr txBox="1"/>
          <p:nvPr/>
        </p:nvSpPr>
        <p:spPr>
          <a:xfrm>
            <a:off x="7828549" y="1458475"/>
            <a:ext cx="3603332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DCM </a:t>
            </a:r>
            <a:r>
              <a:rPr lang="de-DE" sz="1200" dirty="0" err="1">
                <a:solidFill>
                  <a:schemeClr val="bg1"/>
                </a:solidFill>
              </a:rPr>
              <a:t>improve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long</a:t>
            </a:r>
            <a:r>
              <a:rPr lang="de-DE" sz="1200" dirty="0">
                <a:solidFill>
                  <a:schemeClr val="bg1"/>
                </a:solidFill>
              </a:rPr>
              <a:t>-term </a:t>
            </a:r>
            <a:r>
              <a:rPr lang="de-DE" sz="1200" dirty="0" err="1">
                <a:solidFill>
                  <a:schemeClr val="bg1"/>
                </a:solidFill>
              </a:rPr>
              <a:t>plann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reliabilit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b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monitor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emand</a:t>
            </a:r>
            <a:r>
              <a:rPr lang="de-DE" sz="1200" dirty="0">
                <a:solidFill>
                  <a:schemeClr val="bg1"/>
                </a:solidFill>
              </a:rPr>
              <a:t> and </a:t>
            </a:r>
            <a:r>
              <a:rPr lang="de-DE" sz="1200" dirty="0" err="1">
                <a:solidFill>
                  <a:schemeClr val="bg1"/>
                </a:solidFill>
              </a:rPr>
              <a:t>capacit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ata</a:t>
            </a:r>
            <a:r>
              <a:rPr lang="de-DE" sz="1200" dirty="0">
                <a:solidFill>
                  <a:schemeClr val="bg1"/>
                </a:solidFill>
              </a:rPr>
              <a:t>. The </a:t>
            </a:r>
            <a:r>
              <a:rPr lang="de-DE" sz="1200" dirty="0" err="1">
                <a:solidFill>
                  <a:schemeClr val="bg1"/>
                </a:solidFill>
              </a:rPr>
              <a:t>ai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is</a:t>
            </a:r>
            <a:r>
              <a:rPr lang="de-DE" sz="1200" dirty="0">
                <a:solidFill>
                  <a:schemeClr val="bg1"/>
                </a:solidFill>
              </a:rPr>
              <a:t> to </a:t>
            </a:r>
            <a:r>
              <a:rPr lang="de-DE" sz="1200" dirty="0" err="1">
                <a:solidFill>
                  <a:schemeClr val="bg1"/>
                </a:solidFill>
              </a:rPr>
              <a:t>reduc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cost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b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identify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capacit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bottlenecks</a:t>
            </a:r>
            <a:r>
              <a:rPr lang="de-DE" sz="1200" dirty="0">
                <a:solidFill>
                  <a:schemeClr val="bg1"/>
                </a:solidFill>
              </a:rPr>
              <a:t> at an </a:t>
            </a:r>
            <a:r>
              <a:rPr lang="de-DE" sz="1200" dirty="0" err="1">
                <a:solidFill>
                  <a:schemeClr val="bg1"/>
                </a:solidFill>
              </a:rPr>
              <a:t>early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tage</a:t>
            </a:r>
            <a:r>
              <a:rPr lang="de-DE" sz="1200" dirty="0">
                <a:solidFill>
                  <a:schemeClr val="bg1"/>
                </a:solidFill>
              </a:rPr>
              <a:t>. The </a:t>
            </a:r>
            <a:r>
              <a:rPr lang="de-DE" sz="1200" dirty="0" err="1">
                <a:solidFill>
                  <a:schemeClr val="bg1"/>
                </a:solidFill>
              </a:rPr>
              <a:t>focus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is</a:t>
            </a:r>
            <a:r>
              <a:rPr lang="de-DE" sz="1200" dirty="0">
                <a:solidFill>
                  <a:schemeClr val="bg1"/>
                </a:solidFill>
              </a:rPr>
              <a:t> on </a:t>
            </a:r>
            <a:r>
              <a:rPr lang="de-DE" sz="1200" dirty="0" err="1">
                <a:solidFill>
                  <a:schemeClr val="bg1"/>
                </a:solidFill>
              </a:rPr>
              <a:t>information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haring</a:t>
            </a:r>
            <a:r>
              <a:rPr lang="de-DE" sz="1200" dirty="0">
                <a:solidFill>
                  <a:schemeClr val="bg1"/>
                </a:solidFill>
              </a:rPr>
              <a:t>  </a:t>
            </a:r>
            <a:r>
              <a:rPr lang="de-DE" sz="1200" dirty="0" err="1">
                <a:solidFill>
                  <a:schemeClr val="bg1"/>
                </a:solidFill>
              </a:rPr>
              <a:t>problem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olv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o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great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resilience</a:t>
            </a:r>
            <a:r>
              <a:rPr lang="de-DE" sz="1200" dirty="0">
                <a:solidFill>
                  <a:schemeClr val="bg1"/>
                </a:solidFill>
              </a:rPr>
              <a:t> and </a:t>
            </a:r>
            <a:r>
              <a:rPr lang="de-DE" sz="1200" dirty="0" err="1">
                <a:solidFill>
                  <a:schemeClr val="bg1"/>
                </a:solidFill>
              </a:rPr>
              <a:t>flexibility</a:t>
            </a:r>
            <a:r>
              <a:rPr lang="de-DE" sz="1200" dirty="0">
                <a:solidFill>
                  <a:schemeClr val="bg1"/>
                </a:solidFill>
              </a:rPr>
              <a:t> in </a:t>
            </a:r>
            <a:r>
              <a:rPr lang="de-DE" sz="1200" dirty="0" err="1">
                <a:solidFill>
                  <a:schemeClr val="bg1"/>
                </a:solidFill>
              </a:rPr>
              <a:t>th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process</a:t>
            </a:r>
            <a:r>
              <a:rPr lang="de-DE" sz="12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37" name="TextBox 24">
            <a:extLst>
              <a:ext uri="{FF2B5EF4-FFF2-40B4-BE49-F238E27FC236}">
                <a16:creationId xmlns:a16="http://schemas.microsoft.com/office/drawing/2014/main" id="{3E7E9688-4876-5342-898C-E3CDA0305CE9}"/>
              </a:ext>
            </a:extLst>
          </p:cNvPr>
          <p:cNvSpPr txBox="1"/>
          <p:nvPr/>
        </p:nvSpPr>
        <p:spPr>
          <a:xfrm>
            <a:off x="3164444" y="1468264"/>
            <a:ext cx="358076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URI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visualiz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upply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tuation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hort</a:t>
            </a:r>
            <a:r>
              <a:rPr lang="de-DE" dirty="0">
                <a:solidFill>
                  <a:schemeClr val="bg1"/>
                </a:solidFill>
              </a:rPr>
              <a:t>-term </a:t>
            </a:r>
            <a:r>
              <a:rPr lang="de-DE" dirty="0" err="1">
                <a:solidFill>
                  <a:schemeClr val="bg1"/>
                </a:solidFill>
              </a:rPr>
              <a:t>horizon</a:t>
            </a:r>
            <a:r>
              <a:rPr lang="de-DE" dirty="0">
                <a:solidFill>
                  <a:schemeClr val="bg1"/>
                </a:solidFill>
              </a:rPr>
              <a:t> with </a:t>
            </a:r>
            <a:r>
              <a:rPr lang="de-DE" dirty="0" err="1">
                <a:solidFill>
                  <a:schemeClr val="bg1"/>
                </a:solidFill>
              </a:rPr>
              <a:t>actua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ata</a:t>
            </a:r>
            <a:r>
              <a:rPr lang="de-DE" dirty="0">
                <a:solidFill>
                  <a:schemeClr val="bg1"/>
                </a:solidFill>
              </a:rPr>
              <a:t>, </a:t>
            </a:r>
            <a:r>
              <a:rPr lang="de-DE" dirty="0" err="1">
                <a:solidFill>
                  <a:schemeClr val="bg1"/>
                </a:solidFill>
              </a:rPr>
              <a:t>withou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ggregation</a:t>
            </a:r>
            <a:r>
              <a:rPr lang="de-DE" dirty="0">
                <a:solidFill>
                  <a:schemeClr val="bg1"/>
                </a:solidFill>
              </a:rPr>
              <a:t> and </a:t>
            </a:r>
            <a:r>
              <a:rPr lang="de-DE" dirty="0" err="1">
                <a:solidFill>
                  <a:schemeClr val="bg1"/>
                </a:solidFill>
              </a:rPr>
              <a:t>completely</a:t>
            </a:r>
            <a:r>
              <a:rPr lang="de-DE" dirty="0">
                <a:solidFill>
                  <a:schemeClr val="bg1"/>
                </a:solidFill>
              </a:rPr>
              <a:t> in real time, </a:t>
            </a:r>
            <a:r>
              <a:rPr lang="de-DE" dirty="0" err="1">
                <a:solidFill>
                  <a:schemeClr val="bg1"/>
                </a:solidFill>
              </a:rPr>
              <a:t>enabl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user</a:t>
            </a:r>
            <a:r>
              <a:rPr lang="de-DE" dirty="0">
                <a:solidFill>
                  <a:schemeClr val="bg1"/>
                </a:solidFill>
              </a:rPr>
              <a:t> to </a:t>
            </a:r>
            <a:r>
              <a:rPr lang="de-DE" dirty="0" err="1">
                <a:solidFill>
                  <a:schemeClr val="bg1"/>
                </a:solidFill>
              </a:rPr>
              <a:t>deriv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measur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orrespond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emand</a:t>
            </a:r>
            <a:r>
              <a:rPr lang="de-DE" dirty="0">
                <a:solidFill>
                  <a:schemeClr val="bg1"/>
                </a:solidFill>
              </a:rPr>
              <a:t> on </a:t>
            </a:r>
            <a:r>
              <a:rPr lang="de-DE" dirty="0" err="1">
                <a:solidFill>
                  <a:schemeClr val="bg1"/>
                </a:solidFill>
              </a:rPr>
              <a:t>thi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basis</a:t>
            </a:r>
            <a:r>
              <a:rPr lang="de-DE" dirty="0">
                <a:solidFill>
                  <a:schemeClr val="bg1"/>
                </a:solidFill>
              </a:rPr>
              <a:t> and to </a:t>
            </a:r>
            <a:r>
              <a:rPr lang="de-DE" dirty="0" err="1">
                <a:solidFill>
                  <a:schemeClr val="bg1"/>
                </a:solidFill>
              </a:rPr>
              <a:t>b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ble</a:t>
            </a:r>
            <a:r>
              <a:rPr lang="de-DE" dirty="0">
                <a:solidFill>
                  <a:schemeClr val="bg1"/>
                </a:solidFill>
              </a:rPr>
              <a:t> to </a:t>
            </a:r>
            <a:r>
              <a:rPr lang="de-DE" dirty="0" err="1">
                <a:solidFill>
                  <a:schemeClr val="bg1"/>
                </a:solidFill>
              </a:rPr>
              <a:t>mak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more</a:t>
            </a:r>
            <a:r>
              <a:rPr lang="de-DE" dirty="0">
                <a:solidFill>
                  <a:schemeClr val="bg1"/>
                </a:solidFill>
              </a:rPr>
              <a:t> reliable </a:t>
            </a:r>
            <a:r>
              <a:rPr lang="de-DE" dirty="0" err="1">
                <a:solidFill>
                  <a:schemeClr val="bg1"/>
                </a:solidFill>
              </a:rPr>
              <a:t>decisions</a:t>
            </a:r>
            <a:r>
              <a:rPr lang="de-DE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8" name="Isosceles Triangle 9">
            <a:extLst>
              <a:ext uri="{FF2B5EF4-FFF2-40B4-BE49-F238E27FC236}">
                <a16:creationId xmlns:a16="http://schemas.microsoft.com/office/drawing/2014/main" id="{0E4A330C-0C11-37CF-BDB3-D7DE975F999C}"/>
              </a:ext>
            </a:extLst>
          </p:cNvPr>
          <p:cNvSpPr/>
          <p:nvPr/>
        </p:nvSpPr>
        <p:spPr>
          <a:xfrm rot="5400000">
            <a:off x="6776811" y="917478"/>
            <a:ext cx="385065" cy="244829"/>
          </a:xfrm>
          <a:prstGeom prst="triangl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180000" rtlCol="0" anchor="t"/>
          <a:lstStyle/>
          <a:p>
            <a:pPr algn="ctr"/>
            <a:endParaRPr lang="de-DE" b="1"/>
          </a:p>
        </p:txBody>
      </p:sp>
      <p:sp>
        <p:nvSpPr>
          <p:cNvPr id="39" name="Ellipse 41">
            <a:extLst>
              <a:ext uri="{FF2B5EF4-FFF2-40B4-BE49-F238E27FC236}">
                <a16:creationId xmlns:a16="http://schemas.microsoft.com/office/drawing/2014/main" id="{9A7DCE85-5A50-0542-6560-335FB4AF34D8}"/>
              </a:ext>
            </a:extLst>
          </p:cNvPr>
          <p:cNvSpPr/>
          <p:nvPr/>
        </p:nvSpPr>
        <p:spPr>
          <a:xfrm>
            <a:off x="7038193" y="769656"/>
            <a:ext cx="527268" cy="527268"/>
          </a:xfrm>
          <a:prstGeom prst="ellipse">
            <a:avLst/>
          </a:prstGeom>
          <a:solidFill>
            <a:schemeClr val="tx2"/>
          </a:solidFill>
          <a:ln w="63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pic>
        <p:nvPicPr>
          <p:cNvPr id="40" name="Graphic 37" descr="Link with solid fill">
            <a:extLst>
              <a:ext uri="{FF2B5EF4-FFF2-40B4-BE49-F238E27FC236}">
                <a16:creationId xmlns:a16="http://schemas.microsoft.com/office/drawing/2014/main" id="{937DF203-EAD7-BE5A-2ADE-BE2BA88452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69936" y="796386"/>
            <a:ext cx="467457" cy="467457"/>
          </a:xfrm>
          <a:prstGeom prst="rect">
            <a:avLst/>
          </a:prstGeom>
        </p:spPr>
      </p:pic>
      <p:sp>
        <p:nvSpPr>
          <p:cNvPr id="41" name="Isosceles Triangle 48">
            <a:extLst>
              <a:ext uri="{FF2B5EF4-FFF2-40B4-BE49-F238E27FC236}">
                <a16:creationId xmlns:a16="http://schemas.microsoft.com/office/drawing/2014/main" id="{1337F130-BF8F-2AA8-A49E-D964EC141030}"/>
              </a:ext>
            </a:extLst>
          </p:cNvPr>
          <p:cNvSpPr/>
          <p:nvPr/>
        </p:nvSpPr>
        <p:spPr>
          <a:xfrm rot="16200000">
            <a:off x="7432084" y="917477"/>
            <a:ext cx="385065" cy="244829"/>
          </a:xfrm>
          <a:prstGeom prst="triangl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180000" rtlCol="0" anchor="t"/>
          <a:lstStyle/>
          <a:p>
            <a:pPr algn="ctr"/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202353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133350" y="177800"/>
            <a:ext cx="11874500" cy="6479881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084F7B-8AEB-F9C1-8F29-F5BE8FB909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0" y="685800"/>
            <a:ext cx="10718800" cy="57785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9755536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8472072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662999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892017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656571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481846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432175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Material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Material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D1DF9E2-3424-BDA5-B645-D6ECB8B361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5A3215-DE9A-05B3-30D8-9D8A70A9043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008249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561356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76E0433-85A7-74F0-34BC-AFD39861BAC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49A081-A270-BC8C-5DC7-F1DC2DC2CB3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/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/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138916" y="190500"/>
            <a:ext cx="12053084" cy="617378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047B591-A86A-495B-3C85-7BF380091B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E45E81D-65A8-4797-C9CF-4BED191D86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397352" y="68579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521784" y="50006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4975649" y="1144323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C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5141758" y="3185807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2914993" y="216554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3777640" y="318677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2410975" y="31840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4393597" y="2330917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3505138" y="269725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5732575" y="1475063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5736013" y="2482819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3654295" y="2496287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3803452" y="2846414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3007606" y="2846413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5586856" y="2184505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057D3E7-1216-4454-EB66-B416C77E8C9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3F19FA6-6444-6F1C-BB95-1B0C747CE2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/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/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9041994-2E39-85AD-21CD-2980F115A06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© 2023 Catena-X or a Catena-X affiliate company. All rights reserved.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63E135A-913B-D63C-1064-5073F088DF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647759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827095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376093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817409-4DFE-4276-171C-1E641452DD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/>
          <a:p>
            <a:r>
              <a:rPr lang="en-US" dirty="0"/>
              <a:t>© 2023 Catena-X or a Catena-X affiliate company. All rights reserved.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4E4DB1-F570-BA9B-A4A4-683673C900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24913" y="6457362"/>
            <a:ext cx="2743200" cy="365125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6F0A81E-651B-3C26-C4DE-9EED2CDC6C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410E72B-EDAC-7E0F-B185-CCEEEBDA08D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50BA7F7-D06A-E2DA-7CB7-8022ACD0C1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8562652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99109FF-7475-EE8D-8485-F319D4CC4B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C00FF6-DDCF-3925-1E09-E7641490E5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/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B9602F5-5632-7969-A3E5-1876BEEFDA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CB94C10-4B8D-2664-AC58-F1B063300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626883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724197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2" name="Gerader Verbinder 181">
            <a:extLst>
              <a:ext uri="{FF2B5EF4-FFF2-40B4-BE49-F238E27FC236}">
                <a16:creationId xmlns:a16="http://schemas.microsoft.com/office/drawing/2014/main" id="{7742DA61-4FC6-F5EF-22A9-2CA41668A74A}"/>
              </a:ext>
            </a:extLst>
          </p:cNvPr>
          <p:cNvCxnSpPr/>
          <p:nvPr/>
        </p:nvCxnSpPr>
        <p:spPr>
          <a:xfrm>
            <a:off x="3850308" y="6457751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AF578A51-DE98-3D9A-2087-265869D575BA}"/>
              </a:ext>
            </a:extLst>
          </p:cNvPr>
          <p:cNvSpPr/>
          <p:nvPr/>
        </p:nvSpPr>
        <p:spPr>
          <a:xfrm>
            <a:off x="138916" y="190500"/>
            <a:ext cx="12053084" cy="6173788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C038161-A3B2-E2C6-B867-0D3BA06CA24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58A2359-8360-25E5-E87C-66D3C4F01DB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397352" y="68579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521784" y="50006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1902" y="231999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32869" y="237216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74984" y="263908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33836" y="257530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88326" y="252926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597400" y="110919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61206" y="100953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631902" y="304456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3732869" y="303764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6833836" y="304456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6094978" y="98321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2994263" y="98423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5054600" y="202359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702F18-D9CD-F702-2BDD-924F20E27A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973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702F18-D9CD-F702-2BDD-924F20E27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3BEDCC5E-C083-1949-EDDE-499C6DDF5B1D}"/>
              </a:ext>
            </a:extLst>
          </p:cNvPr>
          <p:cNvSpPr/>
          <p:nvPr/>
        </p:nvSpPr>
        <p:spPr>
          <a:xfrm>
            <a:off x="3138005" y="352011"/>
            <a:ext cx="5353050" cy="551815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C830A59F-EA39-469A-7B67-BB83F9EE1A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3834617"/>
              </p:ext>
            </p:extLst>
          </p:nvPr>
        </p:nvGraphicFramePr>
        <p:xfrm>
          <a:off x="3531705" y="760527"/>
          <a:ext cx="4629862" cy="44388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58270">
                  <a:extLst>
                    <a:ext uri="{9D8B030D-6E8A-4147-A177-3AD203B41FA5}">
                      <a16:colId xmlns:a16="http://schemas.microsoft.com/office/drawing/2014/main" val="653781112"/>
                    </a:ext>
                  </a:extLst>
                </a:gridCol>
                <a:gridCol w="3071592">
                  <a:extLst>
                    <a:ext uri="{9D8B030D-6E8A-4147-A177-3AD203B41FA5}">
                      <a16:colId xmlns:a16="http://schemas.microsoft.com/office/drawing/2014/main" val="3932335228"/>
                    </a:ext>
                  </a:extLst>
                </a:gridCol>
              </a:tblGrid>
              <a:tr h="324000">
                <a:tc gridSpan="2"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chemeClr val="accent1"/>
                          </a:solidFill>
                        </a:rPr>
                        <a:t>Direct</a:t>
                      </a:r>
                      <a:r>
                        <a:rPr lang="de-DE" sz="1200" dirty="0">
                          <a:solidFill>
                            <a:schemeClr val="accent1"/>
                          </a:solidFill>
                        </a:rPr>
                        <a:t> Bottleneck Cos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0208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Alternative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sourcing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Procurement of substitute materials at higher price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0570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78139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Production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costs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Special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processe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483072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Overtim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395286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kern="1200" dirty="0">
                          <a:solidFill>
                            <a:schemeClr val="bg1"/>
                          </a:solidFill>
                        </a:rPr>
                        <a:t>Production </a:t>
                      </a:r>
                      <a:r>
                        <a:rPr lang="de-DE" sz="900" kern="1200" dirty="0" err="1">
                          <a:solidFill>
                            <a:schemeClr val="bg1"/>
                          </a:solidFill>
                        </a:rPr>
                        <a:t>delays</a:t>
                      </a:r>
                      <a:endParaRPr lang="de-DE" sz="9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79516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kern="1200" dirty="0">
                          <a:solidFill>
                            <a:schemeClr val="bg1"/>
                          </a:solidFill>
                        </a:rPr>
                        <a:t>Production </a:t>
                      </a:r>
                      <a:r>
                        <a:rPr lang="de-DE" sz="900" kern="1200" dirty="0" err="1">
                          <a:solidFill>
                            <a:schemeClr val="bg1"/>
                          </a:solidFill>
                        </a:rPr>
                        <a:t>downtime</a:t>
                      </a:r>
                      <a:endParaRPr lang="de-DE" sz="9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454104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9918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Inventory</a:t>
                      </a:r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costs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Increased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storage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0481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Capital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tie-up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561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523124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Penalty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payments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Contractual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penaltie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290491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9179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Logistics</a:t>
                      </a:r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costs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Expedited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shipment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30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Additional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deliverie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65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60196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Reputational</a:t>
                      </a:r>
                      <a:r>
                        <a:rPr lang="de-DE" sz="9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accent2"/>
                          </a:solidFill>
                        </a:rPr>
                        <a:t>damage</a:t>
                      </a:r>
                      <a:endParaRPr lang="de-DE" sz="90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Loss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of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customers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4947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Brand/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image</a:t>
                      </a:r>
                      <a:r>
                        <a:rPr lang="de-DE" sz="9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900" dirty="0" err="1">
                          <a:solidFill>
                            <a:schemeClr val="bg1"/>
                          </a:solidFill>
                        </a:rPr>
                        <a:t>damage</a:t>
                      </a:r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78647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9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408719"/>
                  </a:ext>
                </a:extLst>
              </a:tr>
            </a:tbl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1FF7E49-A55E-B278-B5BF-7FA2E68A07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D3160201-1021-E747-6FF5-C0504C5C449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24913" y="6457362"/>
            <a:ext cx="2743200" cy="365125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169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7BEB2CE-CBDA-B693-166C-B1AC021C82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58749" y="47603"/>
            <a:ext cx="11874500" cy="6216694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AB53686-047D-8554-D438-09021CAC7BB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© 2023 Catena-X or a Catena-X affiliate company. All rights reserved.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3DDF264-4AAB-EC40-2787-05295A68294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583530" y="416456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707962" y="230718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068859" y="416456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588773" y="230718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937488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400428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406779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1869719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1876070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339010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345361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808301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801951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264891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271242" y="1045768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734182" y="1045768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937488" y="1924987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937488" y="95052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937488" y="261396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734937" y="75058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667867" y="2656589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633912" y="214221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599732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606083" y="98408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069023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538314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007605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464195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0933486" y="95254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136792" y="1831768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136792" y="857304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136792" y="2520747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7976919" y="669231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0933486" y="261396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833216" y="2048997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069023" y="98408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538315" y="96990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007605" y="978578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476896" y="995929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117742" y="96990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4896074" y="949509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4942969" y="159366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377379" y="1689025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594912" y="3150004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099916" y="3155950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995825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458765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465116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1928056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1934407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397347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403698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2866638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2860288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323228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329579" y="4512461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792519" y="45124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995825" y="5407043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995825" y="4101631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995825" y="5765074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793274" y="3901688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706382" y="5479823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655423" y="441410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655239" y="442660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124529" y="438866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587468" y="4357134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058293" y="438704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526049" y="4357134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0946186" y="437624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185946" y="5293323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185946" y="4101631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185946" y="5765074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026073" y="3913558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015199" y="5415664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124529" y="440439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584294" y="4360597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056759" y="438316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526050" y="4360380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192297" y="4437718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0982640" y="5812665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561929" y="3895385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430826" y="3952382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431359" y="3613123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620984" y="3584777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667619" y="3704433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668809" y="3069527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4938790" y="4460674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4985685" y="510483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412823" y="520512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741558" y="583089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681629" y="5502128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875489" y="5415664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7858236" y="5415664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053881" y="5305215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08092" y="1045768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9451" y="4576740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-2444885" y="-2943226"/>
            <a:ext cx="17418185" cy="976571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793B55B-00DA-AB0A-9C27-36971AE547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28D017-968D-AA08-30AE-EC99B43173C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702153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998034" y="67688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541449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932400" y="67053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4189377" y="1321145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455958" y="336262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2229193" y="2342369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3091840" y="33635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725175" y="3360897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707797" y="2507739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819338" y="287407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5045177" y="1651885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5050213" y="2659641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968495" y="2673109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3117652" y="3023236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2321806" y="3023235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806831" y="2242420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1091868" y="3011053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7046475" y="1320179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7308970" y="336262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9241403" y="2341404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683682" y="33674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10058394" y="33674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756443" y="235761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831548" y="286822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901475" y="1650919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905600" y="2655931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8054757" y="2506774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980705" y="2672144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10129862" y="3017386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9280312" y="3017385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955723" y="2263597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667936" y="3043300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527321"/>
              </p:ext>
            </p:extLst>
          </p:nvPr>
        </p:nvGraphicFramePr>
        <p:xfrm>
          <a:off x="1703547" y="4278805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2197005" y="390084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565132" y="39158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926876" y="390109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782263" y="3892325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9150390" y="39073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512134" y="389256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654437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966275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4351866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7239695" y="394991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534262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882029" y="399046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901056" y="236132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681571" y="442091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7335728" y="5260712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520700" y="3297216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2109361" y="3367493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470418" y="63501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2137579" y="687282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6309714" y="3972917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532569" y="4726797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2085328" y="4726797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702153" y="448853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0473" y="-2280589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993526" y="43895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987758" y="486525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3323683" y="484705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3313095" y="440949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620180" y="43950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9031471" y="43801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684516" y="48837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988473" y="44262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985266" y="486874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7299007" y="44168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601451" y="442267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601451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738786" y="489078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985358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10118817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96985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10107189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1024452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427588" y="4769079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390695" y="43252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956778" y="478564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616002" y="528285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808739" y="5842740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808739" y="6118323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593718" y="5842740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593718" y="611832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-2444885" y="-2943226"/>
            <a:ext cx="17418185" cy="976571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EDD92F1-E1DF-3ADD-2F31-499B2310AF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5913F6-BCDF-F215-1A33-815EE91B7A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702153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998034" y="67688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541449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932400" y="67053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4189377" y="1321145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455958" y="336262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2229193" y="2342369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3091840" y="33635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725175" y="3360897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707797" y="2507739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819338" y="2874079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5045177" y="1651885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5050213" y="2659641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968495" y="2673109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3117652" y="3023236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2321806" y="3023235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806831" y="2242420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1091868" y="3011053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7046475" y="1320179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7308970" y="336262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9241403" y="2341404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683682" y="33674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10058394" y="33674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756443" y="235761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831548" y="2868229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901475" y="1650919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905600" y="2655931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8054757" y="2506774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980705" y="2672144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10129862" y="3017386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9280312" y="3017385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955723" y="2263597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667936" y="3043300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131457"/>
              </p:ext>
            </p:extLst>
          </p:nvPr>
        </p:nvGraphicFramePr>
        <p:xfrm>
          <a:off x="1703547" y="4278805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2197005" y="390084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565132" y="39158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926876" y="390109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782263" y="3892325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9150390" y="39073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512134" y="389256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654437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966275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4351866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7239695" y="394991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534262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882029" y="399046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901056" y="236132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681571" y="442091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7335728" y="5260712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993526" y="43895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987758" y="486525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3323683" y="484705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3313095" y="440949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620180" y="43950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9031471" y="43801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684516" y="48837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988473" y="44262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985266" y="486874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7299007" y="44168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601451" y="442267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601451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738786" y="489078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985358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10118817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96985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10107189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1024452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427588" y="4769079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390695" y="43252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956778" y="478564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616002" y="528285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808739" y="5842740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808739" y="6118323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593718" y="5842740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593718" y="611832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-2444885" y="-2943226"/>
            <a:ext cx="17418185" cy="976571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A9F23A2-E436-E9B9-EC6A-F7BA1A529A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5F42EC-C092-16AC-7197-DEA234D1C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702153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998034" y="67688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541449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932400" y="67053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4189377" y="1321145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455958" y="3362629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2229193" y="2342369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3091840" y="33635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725175" y="3360897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707797" y="2507739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819338" y="287407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5045177" y="1651885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5050213" y="2659641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968495" y="2673109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3117652" y="3023236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2321806" y="3023235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806831" y="2242420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1091868" y="3011053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7046475" y="1320179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7308970" y="3362629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9241403" y="2341404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683682" y="33674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10058394" y="33674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756443" y="235761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831548" y="286822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901475" y="1650919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905600" y="2655931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8054757" y="2506774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980705" y="2672144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10129862" y="3017386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9280312" y="3017385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955723" y="2263597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667936" y="3043300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718503"/>
              </p:ext>
            </p:extLst>
          </p:nvPr>
        </p:nvGraphicFramePr>
        <p:xfrm>
          <a:off x="1703547" y="4278805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2197005" y="390084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565132" y="39158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926876" y="390109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782263" y="3892325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9150390" y="39073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512134" y="389256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654437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966275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4351866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7239695" y="394991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534262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882029" y="399046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901056" y="236132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681571" y="442091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7335728" y="5260712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993526" y="43895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987758" y="486525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3323683" y="484705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3313095" y="440949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620180" y="43950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9031471" y="43801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684516" y="48837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988473" y="44262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985266" y="486874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7299007" y="44168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601451" y="442267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601451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738786" y="489078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985358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10118817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96985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10107189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1024452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427588" y="4769079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390695" y="43252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956778" y="478564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616002" y="528285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808739" y="5842740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808739" y="6118323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593718" y="5842740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593718" y="611832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-2444885" y="-2943226"/>
            <a:ext cx="17418185" cy="976571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216EAB2-F171-5961-05D8-88E2053BDE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A9EE9E-1258-515C-B461-9FAAEB0BAC8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702153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998034" y="67688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541449" y="862621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932400" y="670534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4189377" y="1321145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455958" y="3362629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2229193" y="2342369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3091840" y="33635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725175" y="3360897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707797" y="2507739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819338" y="287407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5045177" y="1651885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5050213" y="2659641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968495" y="2673109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3117652" y="3023236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2321806" y="3023235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806831" y="2242420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1091868" y="3011053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7046475" y="1320179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7308970" y="3362629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9241403" y="2341404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683682" y="3367493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10058394" y="3367493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756443" y="235761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831548" y="286822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901475" y="1650919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905600" y="2655931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8054757" y="2506774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980705" y="2672144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10129862" y="3017386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9280312" y="3017385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955723" y="2263597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667936" y="3043300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741103"/>
              </p:ext>
            </p:extLst>
          </p:nvPr>
        </p:nvGraphicFramePr>
        <p:xfrm>
          <a:off x="1703547" y="4278805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2197005" y="390084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565132" y="39158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926876" y="390109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782263" y="3892325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9150390" y="39073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512134" y="389256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654437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966275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4351866" y="3958354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7239695" y="394991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534262" y="396496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882029" y="399046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901056" y="2361327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681571" y="442091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7335728" y="5260712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993526" y="43895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987758" y="486525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3323683" y="484705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3313095" y="440949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620180" y="43950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9031471" y="4380178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684516" y="48837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988473" y="44262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985266" y="486874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7299007" y="441689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601451" y="442267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601451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738786" y="489078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985358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10118817" y="443830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96985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10107189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10244524" y="489005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427588" y="4769079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390695" y="43252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956778" y="478564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616002" y="528285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808739" y="5842740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808739" y="6118323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593718" y="5842740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593718" y="611832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5-27T12:01:38+00:00</RevIMDeletionDate>
    <RevIMEventDate xmlns="fc282b16-8a95-47e2-a36d-6db0797e13f9" xsi:nil="true"/>
    <RevIMExtends xmlns="fc282b16-8a95-47e2-a36d-6db0797e13f9">{"Locked":null,"LockedBy":null,"UnLocked":null,"UnLockedBy":null,"Classified":"2025-05-27T12:32:23.920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97365B-A541-4817-9130-76AA4F3B7206}">
  <ds:schemaRefs>
    <ds:schemaRef ds:uri="http://purl.org/dc/terms/"/>
    <ds:schemaRef ds:uri="http://purl.org/dc/elements/1.1/"/>
    <ds:schemaRef ds:uri="http://www.w3.org/XML/1998/namespace"/>
    <ds:schemaRef ds:uri="b901e847-c49e-4a70-b8e5-61de17bb0deb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fc282b16-8a95-47e2-a36d-6db0797e13f9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5</TotalTime>
  <Words>3032</Words>
  <Application>Microsoft Macintosh PowerPoint</Application>
  <PresentationFormat>Widescreen</PresentationFormat>
  <Paragraphs>1118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ptos</vt:lpstr>
      <vt:lpstr>Arial</vt:lpstr>
      <vt:lpstr>BMWGroupTN Condensed</vt:lpstr>
      <vt:lpstr>Calibri</vt:lpstr>
      <vt:lpstr>Imago Pro Light</vt:lpstr>
      <vt:lpstr>Manrope Light</vt:lpstr>
      <vt:lpstr>Segoe UI</vt:lpstr>
      <vt:lpstr>Wingdings</vt:lpstr>
      <vt:lpstr>Office</vt:lpstr>
      <vt:lpstr>Cata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Zan Pirc</cp:lastModifiedBy>
  <cp:revision>3</cp:revision>
  <cp:lastPrinted>2023-02-20T07:18:22Z</cp:lastPrinted>
  <dcterms:created xsi:type="dcterms:W3CDTF">2022-05-09T07:37:59Z</dcterms:created>
  <dcterms:modified xsi:type="dcterms:W3CDTF">2025-08-12T09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MSIP_Label_7fac60de-59ad-46d5-88f3-f15162e80726_Enabled">
    <vt:lpwstr>true</vt:lpwstr>
  </property>
  <property fmtid="{D5CDD505-2E9C-101B-9397-08002B2CF9AE}" pid="21" name="MSIP_Label_7fac60de-59ad-46d5-88f3-f15162e80726_SetDate">
    <vt:lpwstr>2025-08-06T07:22:12Z</vt:lpwstr>
  </property>
  <property fmtid="{D5CDD505-2E9C-101B-9397-08002B2CF9AE}" pid="22" name="MSIP_Label_7fac60de-59ad-46d5-88f3-f15162e80726_Method">
    <vt:lpwstr>Standard</vt:lpwstr>
  </property>
  <property fmtid="{D5CDD505-2E9C-101B-9397-08002B2CF9AE}" pid="23" name="MSIP_Label_7fac60de-59ad-46d5-88f3-f15162e80726_Name">
    <vt:lpwstr>Public</vt:lpwstr>
  </property>
  <property fmtid="{D5CDD505-2E9C-101B-9397-08002B2CF9AE}" pid="24" name="MSIP_Label_7fac60de-59ad-46d5-88f3-f15162e80726_SiteId">
    <vt:lpwstr>a87c7421-056b-487f-a107-afa9c7fde010</vt:lpwstr>
  </property>
  <property fmtid="{D5CDD505-2E9C-101B-9397-08002B2CF9AE}" pid="25" name="MSIP_Label_7fac60de-59ad-46d5-88f3-f15162e80726_ActionId">
    <vt:lpwstr>77af05b5-33ec-40d5-bdda-39902d7edf38</vt:lpwstr>
  </property>
  <property fmtid="{D5CDD505-2E9C-101B-9397-08002B2CF9AE}" pid="26" name="MSIP_Label_7fac60de-59ad-46d5-88f3-f15162e80726_ContentBits">
    <vt:lpwstr>2</vt:lpwstr>
  </property>
  <property fmtid="{D5CDD505-2E9C-101B-9397-08002B2CF9AE}" pid="27" name="MSIP_Label_7fac60de-59ad-46d5-88f3-f15162e80726_Tag">
    <vt:lpwstr>50, 3, 0, 1</vt:lpwstr>
  </property>
  <property fmtid="{D5CDD505-2E9C-101B-9397-08002B2CF9AE}" pid="28" name="ClassificationContentMarkingFooterLocations">
    <vt:lpwstr>Office:6\Catana-X PowerPoint Master:8</vt:lpwstr>
  </property>
  <property fmtid="{D5CDD505-2E9C-101B-9397-08002B2CF9AE}" pid="29" name="ClassificationContentMarkingFooterText">
    <vt:lpwstr>Public</vt:lpwstr>
  </property>
</Properties>
</file>